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Lst>
  <p:notesMasterIdLst>
    <p:notesMasterId r:id="rId16"/>
  </p:notesMasterIdLst>
  <p:handoutMasterIdLst>
    <p:handoutMasterId r:id="rId17"/>
  </p:handoutMasterIdLst>
  <p:sldIdLst>
    <p:sldId id="296" r:id="rId2"/>
    <p:sldId id="284" r:id="rId3"/>
    <p:sldId id="259" r:id="rId4"/>
    <p:sldId id="261" r:id="rId5"/>
    <p:sldId id="288" r:id="rId6"/>
    <p:sldId id="310" r:id="rId7"/>
    <p:sldId id="262" r:id="rId8"/>
    <p:sldId id="264" r:id="rId9"/>
    <p:sldId id="314" r:id="rId10"/>
    <p:sldId id="315" r:id="rId11"/>
    <p:sldId id="316" r:id="rId12"/>
    <p:sldId id="320" r:id="rId13"/>
    <p:sldId id="322" r:id="rId14"/>
    <p:sldId id="323" r:id="rId15"/>
  </p:sldIdLst>
  <p:sldSz cx="12192000" cy="6858000"/>
  <p:notesSz cx="6807200" cy="9939338"/>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99"/>
    <a:srgbClr val="A7A7A7"/>
    <a:srgbClr val="A8A8E0"/>
    <a:srgbClr val="D9D9D9"/>
    <a:srgbClr val="44546A"/>
    <a:srgbClr val="DADAF2"/>
    <a:srgbClr val="202928"/>
    <a:srgbClr val="33328B"/>
    <a:srgbClr val="F3A671"/>
    <a:srgbClr val="66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257" autoAdjust="0"/>
    <p:restoredTop sz="94434" autoAdjust="0"/>
  </p:normalViewPr>
  <p:slideViewPr>
    <p:cSldViewPr snapToGrid="0">
      <p:cViewPr varScale="1">
        <p:scale>
          <a:sx n="74" d="100"/>
          <a:sy n="74" d="100"/>
        </p:scale>
        <p:origin x="570" y="72"/>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100" d="100"/>
          <a:sy n="100" d="100"/>
        </p:scale>
        <p:origin x="190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9575" cy="498475"/>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56038" y="0"/>
            <a:ext cx="2949575" cy="498475"/>
          </a:xfrm>
          <a:prstGeom prst="rect">
            <a:avLst/>
          </a:prstGeom>
        </p:spPr>
        <p:txBody>
          <a:bodyPr vert="horz" lIns="91440" tIns="45720" rIns="91440" bIns="45720" rtlCol="0"/>
          <a:lstStyle>
            <a:lvl1pPr algn="r">
              <a:defRPr sz="1200"/>
            </a:lvl1pPr>
          </a:lstStyle>
          <a:p>
            <a:fld id="{52DB41AA-B0A1-4F90-8E3B-1BDC60C63036}" type="datetimeFigureOut">
              <a:rPr kumimoji="1" lang="ja-JP" altLang="en-US" smtClean="0"/>
              <a:t>2020/10/5</a:t>
            </a:fld>
            <a:endParaRPr kumimoji="1" lang="ja-JP" altLang="en-US"/>
          </a:p>
        </p:txBody>
      </p:sp>
      <p:sp>
        <p:nvSpPr>
          <p:cNvPr id="4" name="フッター プレースホルダー 3"/>
          <p:cNvSpPr>
            <a:spLocks noGrp="1"/>
          </p:cNvSpPr>
          <p:nvPr>
            <p:ph type="ftr" sz="quarter" idx="2"/>
          </p:nvPr>
        </p:nvSpPr>
        <p:spPr>
          <a:xfrm>
            <a:off x="0" y="9440863"/>
            <a:ext cx="2949575" cy="498475"/>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56038" y="9440863"/>
            <a:ext cx="2949575" cy="498475"/>
          </a:xfrm>
          <a:prstGeom prst="rect">
            <a:avLst/>
          </a:prstGeom>
        </p:spPr>
        <p:txBody>
          <a:bodyPr vert="horz" lIns="91440" tIns="45720" rIns="91440" bIns="45720" rtlCol="0" anchor="b"/>
          <a:lstStyle>
            <a:lvl1pPr algn="r">
              <a:defRPr sz="1200"/>
            </a:lvl1pPr>
          </a:lstStyle>
          <a:p>
            <a:fld id="{B6FC732C-D267-4399-A010-4E443D68D842}" type="slidenum">
              <a:rPr kumimoji="1" lang="ja-JP" altLang="en-US" smtClean="0"/>
              <a:t>‹#›</a:t>
            </a:fld>
            <a:endParaRPr kumimoji="1" lang="ja-JP" altLang="en-US"/>
          </a:p>
        </p:txBody>
      </p:sp>
    </p:spTree>
    <p:extLst>
      <p:ext uri="{BB962C8B-B14F-4D97-AF65-F5344CB8AC3E}">
        <p14:creationId xmlns:p14="http://schemas.microsoft.com/office/powerpoint/2010/main" val="18730134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9787" cy="49869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838" y="0"/>
            <a:ext cx="2949787" cy="498693"/>
          </a:xfrm>
          <a:prstGeom prst="rect">
            <a:avLst/>
          </a:prstGeom>
        </p:spPr>
        <p:txBody>
          <a:bodyPr vert="horz" lIns="91440" tIns="45720" rIns="91440" bIns="45720" rtlCol="0"/>
          <a:lstStyle>
            <a:lvl1pPr algn="r">
              <a:defRPr sz="1200"/>
            </a:lvl1pPr>
          </a:lstStyle>
          <a:p>
            <a:fld id="{71EE56D8-36F6-445B-81F7-A7344A51D62A}" type="datetimeFigureOut">
              <a:rPr kumimoji="1" lang="ja-JP" altLang="en-US" smtClean="0"/>
              <a:t>2020/10/5</a:t>
            </a:fld>
            <a:endParaRPr kumimoji="1" lang="ja-JP" altLang="en-US"/>
          </a:p>
        </p:txBody>
      </p:sp>
      <p:sp>
        <p:nvSpPr>
          <p:cNvPr id="4" name="スライド イメージ プレースホルダー 3"/>
          <p:cNvSpPr>
            <a:spLocks noGrp="1" noRot="1" noChangeAspect="1"/>
          </p:cNvSpPr>
          <p:nvPr>
            <p:ph type="sldImg" idx="2"/>
          </p:nvPr>
        </p:nvSpPr>
        <p:spPr>
          <a:xfrm>
            <a:off x="422275" y="1243013"/>
            <a:ext cx="5962650" cy="33543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0720" y="4783307"/>
            <a:ext cx="5445760" cy="3913614"/>
          </a:xfrm>
          <a:prstGeom prst="rect">
            <a:avLst/>
          </a:prstGeom>
        </p:spPr>
        <p:txBody>
          <a:bodyPr vert="horz" lIns="91440" tIns="45720" rIns="91440" bIns="45720" rtlCol="0"/>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6" name="フッター プレースホルダー 5"/>
          <p:cNvSpPr>
            <a:spLocks noGrp="1"/>
          </p:cNvSpPr>
          <p:nvPr>
            <p:ph type="ftr" sz="quarter" idx="4"/>
          </p:nvPr>
        </p:nvSpPr>
        <p:spPr>
          <a:xfrm>
            <a:off x="0" y="9440647"/>
            <a:ext cx="2949787" cy="498692"/>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838" y="9440647"/>
            <a:ext cx="2949787" cy="498692"/>
          </a:xfrm>
          <a:prstGeom prst="rect">
            <a:avLst/>
          </a:prstGeom>
        </p:spPr>
        <p:txBody>
          <a:bodyPr vert="horz" lIns="91440" tIns="45720" rIns="91440" bIns="45720" rtlCol="0" anchor="b"/>
          <a:lstStyle>
            <a:lvl1pPr algn="r">
              <a:defRPr sz="1200"/>
            </a:lvl1pPr>
          </a:lstStyle>
          <a:p>
            <a:fld id="{12FCF30C-BE0D-4E62-B304-980FD995DD93}" type="slidenum">
              <a:rPr kumimoji="1" lang="ja-JP" altLang="en-US" smtClean="0"/>
              <a:t>‹#›</a:t>
            </a:fld>
            <a:endParaRPr kumimoji="1" lang="ja-JP" altLang="en-US"/>
          </a:p>
        </p:txBody>
      </p:sp>
    </p:spTree>
    <p:extLst>
      <p:ext uri="{BB962C8B-B14F-4D97-AF65-F5344CB8AC3E}">
        <p14:creationId xmlns:p14="http://schemas.microsoft.com/office/powerpoint/2010/main" val="302759315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680719" y="4783307"/>
            <a:ext cx="5634355" cy="3913614"/>
          </a:xfrm>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12FCF30C-BE0D-4E62-B304-980FD995DD93}" type="slidenum">
              <a:rPr kumimoji="1" lang="ja-JP" altLang="en-US" smtClean="0"/>
              <a:t>1</a:t>
            </a:fld>
            <a:endParaRPr kumimoji="1" lang="ja-JP" altLang="en-US"/>
          </a:p>
        </p:txBody>
      </p:sp>
    </p:spTree>
    <p:extLst>
      <p:ext uri="{BB962C8B-B14F-4D97-AF65-F5344CB8AC3E}">
        <p14:creationId xmlns:p14="http://schemas.microsoft.com/office/powerpoint/2010/main" val="21556997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8900" y="50800"/>
            <a:ext cx="6629400" cy="3729038"/>
          </a:xfrm>
        </p:spPr>
      </p:sp>
      <p:sp>
        <p:nvSpPr>
          <p:cNvPr id="3" name="ノート プレースホルダー 2"/>
          <p:cNvSpPr>
            <a:spLocks noGrp="1"/>
          </p:cNvSpPr>
          <p:nvPr>
            <p:ph type="body" idx="1"/>
          </p:nvPr>
        </p:nvSpPr>
        <p:spPr>
          <a:xfrm>
            <a:off x="431924" y="3907711"/>
            <a:ext cx="6286013" cy="5731589"/>
          </a:xfrm>
        </p:spPr>
        <p:txBody>
          <a:bodyPr>
            <a:noAutofit/>
          </a:bodyPr>
          <a:lstStyle/>
          <a:p>
            <a:endParaRPr lang="ja-JP" altLang="en-US" dirty="0"/>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C575A-FA3C-4170-BDE2-E20A38399392}" type="slidenum">
              <a:rPr kumimoji="0" lang="en-US" sz="1100" b="0" i="0" u="none" strike="noStrike" kern="1200" cap="none" spc="0" normalizeH="0" baseline="0" noProof="0" smtClean="0">
                <a:ln>
                  <a:noFill/>
                </a:ln>
                <a:solidFill>
                  <a:prstClr val="black"/>
                </a:solidFill>
                <a:effectLst/>
                <a:uLnTx/>
                <a:uFillTx/>
                <a:latin typeface="Trebuchet MS" panose="020B0603020202020204" pitchFamily="34" charset="0"/>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1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sym typeface="+mn-lt"/>
            </a:endParaRPr>
          </a:p>
        </p:txBody>
      </p:sp>
    </p:spTree>
    <p:extLst>
      <p:ext uri="{BB962C8B-B14F-4D97-AF65-F5344CB8AC3E}">
        <p14:creationId xmlns:p14="http://schemas.microsoft.com/office/powerpoint/2010/main" val="41559285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8900" y="39688"/>
            <a:ext cx="6629400" cy="3729037"/>
          </a:xfrm>
        </p:spPr>
      </p:sp>
      <p:sp>
        <p:nvSpPr>
          <p:cNvPr id="3" name="ノート プレースホルダー 2"/>
          <p:cNvSpPr>
            <a:spLocks noGrp="1"/>
          </p:cNvSpPr>
          <p:nvPr>
            <p:ph type="body" idx="1"/>
          </p:nvPr>
        </p:nvSpPr>
        <p:spPr>
          <a:xfrm>
            <a:off x="290124" y="3897330"/>
            <a:ext cx="6515502" cy="6023720"/>
          </a:xfrm>
        </p:spPr>
        <p:txBody>
          <a:bodyPr>
            <a:noAutofit/>
          </a:bodyPr>
          <a:lstStyle/>
          <a:p>
            <a:pPr>
              <a:lnSpc>
                <a:spcPts val="2017"/>
              </a:lnSpc>
            </a:pPr>
            <a:endParaRPr lang="ja-JP" altLang="en-US" dirty="0"/>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1C575A-FA3C-4170-BDE2-E20A38399392}" type="slidenum">
              <a:rPr kumimoji="0" lang="en-US" sz="1100" b="0" i="0" u="none" strike="noStrike" kern="1200" cap="none" spc="0" normalizeH="0" baseline="0" noProof="0" smtClean="0">
                <a:ln>
                  <a:noFill/>
                </a:ln>
                <a:solidFill>
                  <a:prstClr val="black"/>
                </a:solidFill>
                <a:effectLst/>
                <a:uLnTx/>
                <a:uFillTx/>
                <a:latin typeface="Trebuchet MS" panose="020B0603020202020204" pitchFamily="34" charset="0"/>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1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sym typeface="+mn-lt"/>
            </a:endParaRPr>
          </a:p>
        </p:txBody>
      </p:sp>
    </p:spTree>
    <p:extLst>
      <p:ext uri="{BB962C8B-B14F-4D97-AF65-F5344CB8AC3E}">
        <p14:creationId xmlns:p14="http://schemas.microsoft.com/office/powerpoint/2010/main" val="19498554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12FCF30C-BE0D-4E62-B304-980FD995DD93}" type="slidenum">
              <a:rPr kumimoji="1" lang="ja-JP" altLang="en-US" smtClean="0"/>
              <a:t>12</a:t>
            </a:fld>
            <a:endParaRPr kumimoji="1" lang="ja-JP" altLang="en-US"/>
          </a:p>
        </p:txBody>
      </p:sp>
    </p:spTree>
    <p:extLst>
      <p:ext uri="{BB962C8B-B14F-4D97-AF65-F5344CB8AC3E}">
        <p14:creationId xmlns:p14="http://schemas.microsoft.com/office/powerpoint/2010/main" val="790946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12FCF30C-BE0D-4E62-B304-980FD995DD93}" type="slidenum">
              <a:rPr kumimoji="1" lang="ja-JP" altLang="en-US" smtClean="0"/>
              <a:t>13</a:t>
            </a:fld>
            <a:endParaRPr kumimoji="1" lang="ja-JP" altLang="en-US"/>
          </a:p>
        </p:txBody>
      </p:sp>
    </p:spTree>
    <p:extLst>
      <p:ext uri="{BB962C8B-B14F-4D97-AF65-F5344CB8AC3E}">
        <p14:creationId xmlns:p14="http://schemas.microsoft.com/office/powerpoint/2010/main" val="6273524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2075" y="79375"/>
            <a:ext cx="7050088" cy="3967163"/>
          </a:xfrm>
        </p:spPr>
      </p:sp>
      <p:sp>
        <p:nvSpPr>
          <p:cNvPr id="3" name="ノート プレースホルダー 2"/>
          <p:cNvSpPr>
            <a:spLocks noGrp="1"/>
          </p:cNvSpPr>
          <p:nvPr>
            <p:ph type="body" idx="1"/>
          </p:nvPr>
        </p:nvSpPr>
        <p:spPr>
          <a:xfrm>
            <a:off x="817810" y="4306130"/>
            <a:ext cx="5263290" cy="5687441"/>
          </a:xfrm>
        </p:spPr>
        <p:txBody>
          <a:bodyPr>
            <a:normAutofit/>
          </a:bodyPr>
          <a:lstStyle/>
          <a:p>
            <a:pPr>
              <a:lnSpc>
                <a:spcPts val="1800"/>
              </a:lnSpc>
            </a:pPr>
            <a:endParaRPr lang="ja-JP" altLang="en-US" dirty="0"/>
          </a:p>
        </p:txBody>
      </p:sp>
      <p:sp>
        <p:nvSpPr>
          <p:cNvPr id="4" name="スライド番号プレースホルダー 3"/>
          <p:cNvSpPr>
            <a:spLocks noGrp="1"/>
          </p:cNvSpPr>
          <p:nvPr>
            <p:ph type="sldNum" sz="quarter" idx="10"/>
          </p:nvPr>
        </p:nvSpPr>
        <p:spPr/>
        <p:txBody>
          <a:bodyPr/>
          <a:lstStyle/>
          <a:p>
            <a:fld id="{0B1C575A-FA3C-4170-BDE2-E20A38399392}"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12327949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12FCF30C-BE0D-4E62-B304-980FD995DD93}" type="slidenum">
              <a:rPr kumimoji="1" lang="ja-JP" altLang="en-US" smtClean="0"/>
              <a:t>2</a:t>
            </a:fld>
            <a:endParaRPr kumimoji="1" lang="ja-JP" altLang="en-US"/>
          </a:p>
        </p:txBody>
      </p:sp>
    </p:spTree>
    <p:extLst>
      <p:ext uri="{BB962C8B-B14F-4D97-AF65-F5344CB8AC3E}">
        <p14:creationId xmlns:p14="http://schemas.microsoft.com/office/powerpoint/2010/main" val="28274294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220663" y="157163"/>
            <a:ext cx="7199313" cy="4051300"/>
          </a:xfrm>
        </p:spPr>
      </p:sp>
      <p:sp>
        <p:nvSpPr>
          <p:cNvPr id="3" name="ノート プレースホルダー 2"/>
          <p:cNvSpPr>
            <a:spLocks noGrp="1"/>
          </p:cNvSpPr>
          <p:nvPr>
            <p:ph type="body" idx="1"/>
          </p:nvPr>
        </p:nvSpPr>
        <p:spPr>
          <a:xfrm>
            <a:off x="675678" y="4462673"/>
            <a:ext cx="5633168" cy="4689888"/>
          </a:xfrm>
        </p:spPr>
        <p:txBody>
          <a:bodyPr>
            <a:normAutofit/>
          </a:bodyPr>
          <a:lstStyle/>
          <a:p>
            <a:pPr algn="just">
              <a:lnSpc>
                <a:spcPts val="2100"/>
              </a:lnSpc>
            </a:pPr>
            <a:endParaRPr lang="en-US" altLang="ja-JP" dirty="0"/>
          </a:p>
        </p:txBody>
      </p:sp>
      <p:sp>
        <p:nvSpPr>
          <p:cNvPr id="4" name="スライド番号プレースホルダー 3"/>
          <p:cNvSpPr>
            <a:spLocks noGrp="1"/>
          </p:cNvSpPr>
          <p:nvPr>
            <p:ph type="sldNum" sz="quarter" idx="10"/>
          </p:nvPr>
        </p:nvSpPr>
        <p:spPr/>
        <p:txBody>
          <a:bodyPr/>
          <a:lstStyle/>
          <a:p>
            <a:fld id="{0B1C575A-FA3C-4170-BDE2-E20A38399392}" type="slidenum">
              <a:rPr lang="en-US" smtClean="0"/>
              <a:pPr/>
              <a:t>3</a:t>
            </a:fld>
            <a:endParaRPr lang="en-US" dirty="0"/>
          </a:p>
        </p:txBody>
      </p:sp>
    </p:spTree>
    <p:extLst>
      <p:ext uri="{BB962C8B-B14F-4D97-AF65-F5344CB8AC3E}">
        <p14:creationId xmlns:p14="http://schemas.microsoft.com/office/powerpoint/2010/main" val="33394953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220663" y="79375"/>
            <a:ext cx="7199313" cy="4051300"/>
          </a:xfrm>
        </p:spPr>
      </p:sp>
      <p:sp>
        <p:nvSpPr>
          <p:cNvPr id="3" name="ノート プレースホルダー 2"/>
          <p:cNvSpPr>
            <a:spLocks noGrp="1"/>
          </p:cNvSpPr>
          <p:nvPr>
            <p:ph type="body" idx="1"/>
          </p:nvPr>
        </p:nvSpPr>
        <p:spPr>
          <a:xfrm>
            <a:off x="707509" y="4384401"/>
            <a:ext cx="5405421" cy="3991831"/>
          </a:xfrm>
        </p:spPr>
        <p:txBody>
          <a:bodyPr>
            <a:normAutofit/>
          </a:bodyPr>
          <a:lstStyle/>
          <a:p>
            <a:pPr>
              <a:lnSpc>
                <a:spcPts val="2200"/>
              </a:lnSpc>
            </a:pPr>
            <a:endParaRPr lang="en-US" altLang="ja-JP" dirty="0"/>
          </a:p>
        </p:txBody>
      </p:sp>
      <p:sp>
        <p:nvSpPr>
          <p:cNvPr id="4" name="スライド番号プレースホルダー 3"/>
          <p:cNvSpPr>
            <a:spLocks noGrp="1"/>
          </p:cNvSpPr>
          <p:nvPr>
            <p:ph type="sldNum" sz="quarter" idx="5"/>
          </p:nvPr>
        </p:nvSpPr>
        <p:spPr/>
        <p:txBody>
          <a:bodyPr/>
          <a:lstStyle/>
          <a:p>
            <a:fld id="{0B1C575A-FA3C-4170-BDE2-E20A38399392}" type="slidenum">
              <a:rPr lang="en-US" smtClean="0"/>
              <a:pPr/>
              <a:t>4</a:t>
            </a:fld>
            <a:endParaRPr lang="en-US" dirty="0"/>
          </a:p>
        </p:txBody>
      </p:sp>
    </p:spTree>
    <p:extLst>
      <p:ext uri="{BB962C8B-B14F-4D97-AF65-F5344CB8AC3E}">
        <p14:creationId xmlns:p14="http://schemas.microsoft.com/office/powerpoint/2010/main" val="11737034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12FCF30C-BE0D-4E62-B304-980FD995DD93}" type="slidenum">
              <a:rPr kumimoji="1" lang="ja-JP" altLang="en-US" smtClean="0"/>
              <a:t>5</a:t>
            </a:fld>
            <a:endParaRPr kumimoji="1" lang="ja-JP" altLang="en-US"/>
          </a:p>
        </p:txBody>
      </p:sp>
    </p:spTree>
    <p:extLst>
      <p:ext uri="{BB962C8B-B14F-4D97-AF65-F5344CB8AC3E}">
        <p14:creationId xmlns:p14="http://schemas.microsoft.com/office/powerpoint/2010/main" val="23571491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12FCF30C-BE0D-4E62-B304-980FD995DD93}" type="slidenum">
              <a:rPr kumimoji="1" lang="ja-JP" altLang="en-US" smtClean="0"/>
              <a:t>6</a:t>
            </a:fld>
            <a:endParaRPr kumimoji="1" lang="ja-JP" altLang="en-US"/>
          </a:p>
        </p:txBody>
      </p:sp>
    </p:spTree>
    <p:extLst>
      <p:ext uri="{BB962C8B-B14F-4D97-AF65-F5344CB8AC3E}">
        <p14:creationId xmlns:p14="http://schemas.microsoft.com/office/powerpoint/2010/main" val="39078881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12FCF30C-BE0D-4E62-B304-980FD995DD93}" type="slidenum">
              <a:rPr kumimoji="1" lang="ja-JP" altLang="en-US" smtClean="0"/>
              <a:t>7</a:t>
            </a:fld>
            <a:endParaRPr kumimoji="1" lang="ja-JP" altLang="en-US"/>
          </a:p>
        </p:txBody>
      </p:sp>
    </p:spTree>
    <p:extLst>
      <p:ext uri="{BB962C8B-B14F-4D97-AF65-F5344CB8AC3E}">
        <p14:creationId xmlns:p14="http://schemas.microsoft.com/office/powerpoint/2010/main" val="6095042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422275" y="4783307"/>
            <a:ext cx="5962649" cy="3913614"/>
          </a:xfr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12FCF30C-BE0D-4E62-B304-980FD995DD93}" type="slidenum">
              <a:rPr kumimoji="1" lang="ja-JP" altLang="en-US" smtClean="0"/>
              <a:t>8</a:t>
            </a:fld>
            <a:endParaRPr kumimoji="1" lang="ja-JP" altLang="en-US"/>
          </a:p>
        </p:txBody>
      </p:sp>
    </p:spTree>
    <p:extLst>
      <p:ext uri="{BB962C8B-B14F-4D97-AF65-F5344CB8AC3E}">
        <p14:creationId xmlns:p14="http://schemas.microsoft.com/office/powerpoint/2010/main" val="26933008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560388" y="85725"/>
            <a:ext cx="7827963" cy="4403725"/>
          </a:xfrm>
        </p:spPr>
      </p:sp>
      <p:sp>
        <p:nvSpPr>
          <p:cNvPr id="3" name="ノート プレースホルダー 2"/>
          <p:cNvSpPr>
            <a:spLocks noGrp="1"/>
          </p:cNvSpPr>
          <p:nvPr>
            <p:ph type="body" idx="1"/>
          </p:nvPr>
        </p:nvSpPr>
        <p:spPr>
          <a:xfrm>
            <a:off x="466726" y="4765753"/>
            <a:ext cx="5991224" cy="3806747"/>
          </a:xfrm>
        </p:spPr>
        <p:txBody>
          <a:bodyPr>
            <a:normAutofit/>
          </a:bodyPr>
          <a:lstStyle/>
          <a:p>
            <a:pPr>
              <a:lnSpc>
                <a:spcPts val="2100"/>
              </a:lnSpc>
            </a:pPr>
            <a:endParaRPr lang="en-US" altLang="ja-JP" dirty="0"/>
          </a:p>
        </p:txBody>
      </p:sp>
      <p:sp>
        <p:nvSpPr>
          <p:cNvPr id="4" name="スライド番号プレースホルダー 3"/>
          <p:cNvSpPr>
            <a:spLocks noGrp="1"/>
          </p:cNvSpPr>
          <p:nvPr>
            <p:ph type="sldNum" sz="quarter" idx="5"/>
          </p:nvPr>
        </p:nvSpPr>
        <p:spPr/>
        <p:txBody>
          <a:bodyPr/>
          <a:lstStyle/>
          <a:p>
            <a:fld id="{0B1C575A-FA3C-4170-BDE2-E20A38399392}" type="slidenum">
              <a:rPr lang="en-US" smtClean="0"/>
              <a:pPr/>
              <a:t>9</a:t>
            </a:fld>
            <a:endParaRPr lang="en-US" dirty="0"/>
          </a:p>
        </p:txBody>
      </p:sp>
    </p:spTree>
    <p:extLst>
      <p:ext uri="{BB962C8B-B14F-4D97-AF65-F5344CB8AC3E}">
        <p14:creationId xmlns:p14="http://schemas.microsoft.com/office/powerpoint/2010/main" val="32673446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524000" y="1122363"/>
            <a:ext cx="9144000" cy="2387600"/>
          </a:xfrm>
        </p:spPr>
        <p:txBody>
          <a:bodyPr anchor="b"/>
          <a:lstStyle>
            <a:lvl1pPr algn="ctr">
              <a:defRPr sz="6000">
                <a:latin typeface="Meiryo UI" panose="020B0604030504040204" pitchFamily="50" charset="-128"/>
                <a:ea typeface="Meiryo UI" panose="020B0604030504040204" pitchFamily="50" charset="-128"/>
              </a:defRPr>
            </a:lvl1pPr>
          </a:lstStyle>
          <a:p>
            <a:r>
              <a:rPr kumimoji="1" lang="ja-JP" altLang="en-US" dirty="0" smtClean="0"/>
              <a:t>マスター タイトルの書式設定</a:t>
            </a:r>
            <a:endParaRPr kumimoji="1" lang="ja-JP" altLang="en-US" dirty="0"/>
          </a:p>
        </p:txBody>
      </p:sp>
      <p:sp>
        <p:nvSpPr>
          <p:cNvPr id="3" name="サブタイトル 2"/>
          <p:cNvSpPr>
            <a:spLocks noGrp="1"/>
          </p:cNvSpPr>
          <p:nvPr>
            <p:ph type="subTitle" idx="1"/>
          </p:nvPr>
        </p:nvSpPr>
        <p:spPr>
          <a:xfrm>
            <a:off x="1524000" y="3602038"/>
            <a:ext cx="9144000" cy="1655762"/>
          </a:xfrm>
        </p:spPr>
        <p:txBody>
          <a:bodyPr/>
          <a:lstStyle>
            <a:lvl1pPr marL="0" indent="0" algn="ctr">
              <a:buNone/>
              <a:defRPr sz="2400">
                <a:latin typeface="Meiryo UI" panose="020B0604030504040204" pitchFamily="50" charset="-128"/>
                <a:ea typeface="Meiryo UI" panose="020B0604030504040204"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smtClean="0"/>
              <a:t>マスター サブタイトルの書式設定</a:t>
            </a:r>
            <a:endParaRPr kumimoji="1" lang="ja-JP" altLang="en-US"/>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正方形/長方形 5"/>
          <p:cNvSpPr/>
          <p:nvPr userDrawn="1"/>
        </p:nvSpPr>
        <p:spPr bwMode="white">
          <a:xfrm>
            <a:off x="11457992" y="6356350"/>
            <a:ext cx="653143" cy="365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3097964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Tree>
    <p:extLst>
      <p:ext uri="{BB962C8B-B14F-4D97-AF65-F5344CB8AC3E}">
        <p14:creationId xmlns:p14="http://schemas.microsoft.com/office/powerpoint/2010/main" val="34243082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8724900" y="365125"/>
            <a:ext cx="2628900" cy="5811838"/>
          </a:xfrm>
        </p:spPr>
        <p:txBody>
          <a:bodyPr vert="eaVert"/>
          <a:lstStyle/>
          <a:p>
            <a:r>
              <a:rPr kumimoji="1" lang="ja-JP" altLang="en-US" smtClean="0"/>
              <a:t>マスター タイトルの書式設定</a:t>
            </a:r>
            <a:endParaRPr kumimoji="1" lang="ja-JP" altLang="en-US"/>
          </a:p>
        </p:txBody>
      </p:sp>
      <p:sp>
        <p:nvSpPr>
          <p:cNvPr id="3" name="縦書きテキスト プレースホルダー 2"/>
          <p:cNvSpPr>
            <a:spLocks noGrp="1"/>
          </p:cNvSpPr>
          <p:nvPr>
            <p:ph type="body" orient="vert" idx="1"/>
          </p:nvPr>
        </p:nvSpPr>
        <p:spPr>
          <a:xfrm>
            <a:off x="838200" y="365125"/>
            <a:ext cx="7734300" cy="5811838"/>
          </a:xfrm>
        </p:spPr>
        <p:txBody>
          <a:bodyPr vert="eaVert"/>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Tree>
    <p:extLst>
      <p:ext uri="{BB962C8B-B14F-4D97-AF65-F5344CB8AC3E}">
        <p14:creationId xmlns:p14="http://schemas.microsoft.com/office/powerpoint/2010/main" val="35991597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タイトルとコンテンツ">
    <p:spTree>
      <p:nvGrpSpPr>
        <p:cNvPr id="1" name=""/>
        <p:cNvGrpSpPr/>
        <p:nvPr/>
      </p:nvGrpSpPr>
      <p:grpSpPr>
        <a:xfrm>
          <a:off x="0" y="0"/>
          <a:ext cx="0" cy="0"/>
          <a:chOff x="0" y="0"/>
          <a:chExt cx="0" cy="0"/>
        </a:xfrm>
      </p:grpSpPr>
      <p:sp>
        <p:nvSpPr>
          <p:cNvPr id="4" name="タイトル 1"/>
          <p:cNvSpPr>
            <a:spLocks noGrp="1"/>
          </p:cNvSpPr>
          <p:nvPr>
            <p:ph type="ctrTitle" hasCustomPrompt="1"/>
          </p:nvPr>
        </p:nvSpPr>
        <p:spPr>
          <a:xfrm>
            <a:off x="641350" y="221756"/>
            <a:ext cx="10918825" cy="464936"/>
          </a:xfrm>
          <a:prstGeom prst="rect">
            <a:avLst/>
          </a:prstGeom>
        </p:spPr>
        <p:txBody>
          <a:bodyPr>
            <a:noAutofit/>
          </a:bodyPr>
          <a:lstStyle>
            <a:lvl1pPr indent="0" algn="l">
              <a:defRPr sz="2400" b="0" baseline="0">
                <a:solidFill>
                  <a:schemeClr val="tx1">
                    <a:lumMod val="75000"/>
                    <a:lumOff val="25000"/>
                  </a:schemeClr>
                </a:solidFill>
                <a:latin typeface="Trebuchet MS" panose="020B0603020202020204" pitchFamily="34" charset="0"/>
                <a:ea typeface="Meiryo UI" panose="020B0604030504040204" pitchFamily="50" charset="-128"/>
                <a:cs typeface="HGPｺﾞｼｯｸE" pitchFamily="50" charset="-128"/>
              </a:defRPr>
            </a:lvl1pPr>
          </a:lstStyle>
          <a:p>
            <a:r>
              <a:rPr lang="ja-JP" altLang="en-US" dirty="0"/>
              <a:t>タイトル</a:t>
            </a:r>
          </a:p>
        </p:txBody>
      </p:sp>
      <p:sp>
        <p:nvSpPr>
          <p:cNvPr id="5" name="サブタイトル 2"/>
          <p:cNvSpPr>
            <a:spLocks noGrp="1"/>
          </p:cNvSpPr>
          <p:nvPr>
            <p:ph type="subTitle" idx="1" hasCustomPrompt="1"/>
          </p:nvPr>
        </p:nvSpPr>
        <p:spPr>
          <a:xfrm>
            <a:off x="641350" y="802282"/>
            <a:ext cx="10918825" cy="648000"/>
          </a:xfrm>
          <a:prstGeom prst="rect">
            <a:avLst/>
          </a:prstGeom>
          <a:solidFill>
            <a:srgbClr val="33328B"/>
          </a:solidFill>
          <a:ln>
            <a:noFill/>
          </a:ln>
        </p:spPr>
        <p:txBody>
          <a:bodyPr wrap="none" lIns="144000" tIns="18000" rIns="54000" bIns="18000" anchor="ctr">
            <a:noAutofit/>
          </a:bodyPr>
          <a:lstStyle>
            <a:lvl1pPr marL="0" indent="36000" algn="l" defTabSz="914400" rtl="0" eaLnBrk="1" latinLnBrk="0" hangingPunct="1">
              <a:lnSpc>
                <a:spcPct val="100000"/>
              </a:lnSpc>
              <a:buNone/>
              <a:defRPr lang="ja-JP" altLang="en-US" sz="1800" b="1" kern="1200" baseline="0" dirty="0">
                <a:solidFill>
                  <a:schemeClr val="bg1"/>
                </a:solidFill>
                <a:latin typeface="Trebuchet MS" panose="020B0603020202020204" pitchFamily="34" charset="0"/>
                <a:ea typeface="Meiryo UI" panose="020B0604030504040204" pitchFamily="50" charset="-128"/>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ja-JP" altLang="en-US" dirty="0"/>
              <a:t>メッセージ</a:t>
            </a:r>
            <a:endParaRPr lang="en-US" altLang="ja-JP" dirty="0"/>
          </a:p>
        </p:txBody>
      </p:sp>
    </p:spTree>
    <p:extLst>
      <p:ext uri="{BB962C8B-B14F-4D97-AF65-F5344CB8AC3E}">
        <p14:creationId xmlns:p14="http://schemas.microsoft.com/office/powerpoint/2010/main" val="3740638345"/>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955" y="1588"/>
          <a:ext cx="1955" cy="1588"/>
        </p:xfrm>
        <a:graphic>
          <a:graphicData uri="http://schemas.openxmlformats.org/presentationml/2006/ole">
            <mc:AlternateContent xmlns:mc="http://schemas.openxmlformats.org/markup-compatibility/2006">
              <mc:Choice xmlns:v="urn:schemas-microsoft-com:vml" Requires="v">
                <p:oleObj spid="_x0000_s16427" name="think-cell Slide" r:id="rId5" imgW="353" imgH="363" progId="TCLayout.ActiveDocument.1">
                  <p:embed/>
                </p:oleObj>
              </mc:Choice>
              <mc:Fallback>
                <p:oleObj name="think-cell Slide" r:id="rId5" imgW="353" imgH="363" progId="TCLayout.ActiveDocument.1">
                  <p:embed/>
                  <p:pic>
                    <p:nvPicPr>
                      <p:cNvPr id="0" name=""/>
                      <p:cNvPicPr/>
                      <p:nvPr/>
                    </p:nvPicPr>
                    <p:blipFill>
                      <a:blip r:embed="rId6"/>
                      <a:stretch>
                        <a:fillRect/>
                      </a:stretch>
                    </p:blipFill>
                    <p:spPr>
                      <a:xfrm>
                        <a:off x="1955" y="1588"/>
                        <a:ext cx="1955"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95384" cy="158750"/>
          </a:xfrm>
          <a:prstGeom prst="rect">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2400" b="0" i="0" baseline="0" dirty="0">
              <a:solidFill>
                <a:srgbClr val="000000"/>
              </a:solidFill>
              <a:latin typeface="Trebuchet MS" panose="020B0603020202020204" pitchFamily="34" charset="0"/>
              <a:ea typeface="Meiryo UI" panose="020B0604030504040204" pitchFamily="34" charset="-128"/>
              <a:cs typeface="+mj-cs"/>
              <a:sym typeface="Trebuchet MS" panose="020B0603020202020204" pitchFamily="34" charset="0"/>
            </a:endParaRPr>
          </a:p>
        </p:txBody>
      </p:sp>
      <p:sp>
        <p:nvSpPr>
          <p:cNvPr id="4" name="タイトル 1"/>
          <p:cNvSpPr>
            <a:spLocks noGrp="1"/>
          </p:cNvSpPr>
          <p:nvPr>
            <p:ph type="ctrTitle" hasCustomPrompt="1"/>
          </p:nvPr>
        </p:nvSpPr>
        <p:spPr>
          <a:xfrm>
            <a:off x="562709" y="221756"/>
            <a:ext cx="11019692" cy="464936"/>
          </a:xfrm>
          <a:prstGeom prst="rect">
            <a:avLst/>
          </a:prstGeom>
        </p:spPr>
        <p:txBody>
          <a:bodyPr>
            <a:noAutofit/>
          </a:bodyPr>
          <a:lstStyle>
            <a:lvl1pPr indent="0" algn="l">
              <a:defRPr sz="2400" b="0" baseline="0">
                <a:solidFill>
                  <a:schemeClr val="tx1"/>
                </a:solidFill>
                <a:latin typeface="+mj-lt"/>
                <a:ea typeface="+mj-ea"/>
                <a:cs typeface="+mj-cs"/>
                <a:sym typeface="+mj-lt"/>
              </a:defRPr>
            </a:lvl1pPr>
          </a:lstStyle>
          <a:p>
            <a:r>
              <a:rPr lang="en-GB" altLang="ja-JP" dirty="0"/>
              <a:t>Click to add title</a:t>
            </a:r>
            <a:endParaRPr lang="ja-JP" altLang="en-US" dirty="0"/>
          </a:p>
        </p:txBody>
      </p:sp>
    </p:spTree>
    <p:extLst>
      <p:ext uri="{BB962C8B-B14F-4D97-AF65-F5344CB8AC3E}">
        <p14:creationId xmlns:p14="http://schemas.microsoft.com/office/powerpoint/2010/main" val="421066525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3_タイトルとコンテンツ">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915742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idx="1"/>
          </p:nvPr>
        </p:nvSpPr>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Tree>
    <p:extLst>
      <p:ext uri="{BB962C8B-B14F-4D97-AF65-F5344CB8AC3E}">
        <p14:creationId xmlns:p14="http://schemas.microsoft.com/office/powerpoint/2010/main" val="1937703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831850" y="1709738"/>
            <a:ext cx="10515600" cy="2852737"/>
          </a:xfrm>
        </p:spPr>
        <p:txBody>
          <a:bodyPr anchor="b"/>
          <a:lstStyle>
            <a:lvl1pPr>
              <a:defRPr sz="6000"/>
            </a:lvl1p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smtClean="0"/>
              <a:t>マスター テキストの書式設定</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Tree>
    <p:extLst>
      <p:ext uri="{BB962C8B-B14F-4D97-AF65-F5344CB8AC3E}">
        <p14:creationId xmlns:p14="http://schemas.microsoft.com/office/powerpoint/2010/main" val="32216630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ー タイトルの書式設定</a:t>
            </a:r>
            <a:endParaRPr kumimoji="1" lang="ja-JP" altLang="en-US"/>
          </a:p>
        </p:txBody>
      </p:sp>
      <p:sp>
        <p:nvSpPr>
          <p:cNvPr id="3" name="コンテンツ プレースホルダー 2"/>
          <p:cNvSpPr>
            <a:spLocks noGrp="1"/>
          </p:cNvSpPr>
          <p:nvPr>
            <p:ph sz="half" idx="1"/>
          </p:nvPr>
        </p:nvSpPr>
        <p:spPr>
          <a:xfrm>
            <a:off x="838200" y="1825625"/>
            <a:ext cx="5181600" cy="4351338"/>
          </a:xfrm>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コンテンツ プレースホルダー 3"/>
          <p:cNvSpPr>
            <a:spLocks noGrp="1"/>
          </p:cNvSpPr>
          <p:nvPr>
            <p:ph sz="half" idx="2"/>
          </p:nvPr>
        </p:nvSpPr>
        <p:spPr>
          <a:xfrm>
            <a:off x="6172200" y="1825625"/>
            <a:ext cx="5181600" cy="4351338"/>
          </a:xfrm>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Tree>
    <p:extLst>
      <p:ext uri="{BB962C8B-B14F-4D97-AF65-F5344CB8AC3E}">
        <p14:creationId xmlns:p14="http://schemas.microsoft.com/office/powerpoint/2010/main" val="10259286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839788" y="365125"/>
            <a:ext cx="10515600" cy="1325563"/>
          </a:xfrm>
        </p:spPr>
        <p:txBody>
          <a:bodyPr/>
          <a:lstStyle/>
          <a:p>
            <a:r>
              <a:rPr kumimoji="1" lang="ja-JP" altLang="en-US" smtClean="0"/>
              <a:t>マスター タイトルの書式設定</a:t>
            </a:r>
            <a:endParaRPr kumimoji="1" lang="ja-JP" altLang="en-US"/>
          </a:p>
        </p:txBody>
      </p:sp>
      <p:sp>
        <p:nvSpPr>
          <p:cNvPr id="3" name="テキスト プレースホルダー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smtClean="0"/>
              <a:t>マスター テキストの書式設定</a:t>
            </a:r>
          </a:p>
        </p:txBody>
      </p:sp>
      <p:sp>
        <p:nvSpPr>
          <p:cNvPr id="4" name="コンテンツ プレースホルダー 3"/>
          <p:cNvSpPr>
            <a:spLocks noGrp="1"/>
          </p:cNvSpPr>
          <p:nvPr>
            <p:ph sz="half" idx="2"/>
          </p:nvPr>
        </p:nvSpPr>
        <p:spPr>
          <a:xfrm>
            <a:off x="839788" y="2505075"/>
            <a:ext cx="5157787" cy="3684588"/>
          </a:xfrm>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5" name="テキスト プレースホルダー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smtClean="0"/>
              <a:t>マスター テキストの書式設定</a:t>
            </a:r>
          </a:p>
        </p:txBody>
      </p:sp>
      <p:sp>
        <p:nvSpPr>
          <p:cNvPr id="6" name="コンテンツ プレースホルダー 5"/>
          <p:cNvSpPr>
            <a:spLocks noGrp="1"/>
          </p:cNvSpPr>
          <p:nvPr>
            <p:ph sz="quarter" idx="4"/>
          </p:nvPr>
        </p:nvSpPr>
        <p:spPr>
          <a:xfrm>
            <a:off x="6172200" y="2505075"/>
            <a:ext cx="5183188" cy="3684588"/>
          </a:xfrm>
        </p:spPr>
        <p:txBody>
          <a:body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7" name="日付プレースホルダー 6"/>
          <p:cNvSpPr>
            <a:spLocks noGrp="1"/>
          </p:cNvSpPr>
          <p:nvPr>
            <p:ph type="dt" sz="half" idx="10"/>
          </p:nvPr>
        </p:nvSpPr>
        <p:spPr/>
        <p:txBody>
          <a:bodyPr/>
          <a:lstStyle/>
          <a:p>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Tree>
    <p:extLst>
      <p:ext uri="{BB962C8B-B14F-4D97-AF65-F5344CB8AC3E}">
        <p14:creationId xmlns:p14="http://schemas.microsoft.com/office/powerpoint/2010/main" val="1810132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a:xfrm>
            <a:off x="653143" y="251207"/>
            <a:ext cx="10892413" cy="424596"/>
          </a:xfrm>
        </p:spPr>
        <p:txBody>
          <a:bodyPr>
            <a:normAutofit/>
          </a:bodyPr>
          <a:lstStyle>
            <a:lvl1pPr>
              <a:defRPr sz="2400"/>
            </a:lvl1pPr>
          </a:lstStyle>
          <a:p>
            <a:r>
              <a:rPr kumimoji="1" lang="ja-JP" altLang="en-US" smtClean="0"/>
              <a:t>マスター タイトルの書式設定</a:t>
            </a:r>
            <a:endParaRPr kumimoji="1" lang="ja-JP" altLang="en-US"/>
          </a:p>
        </p:txBody>
      </p:sp>
      <p:sp>
        <p:nvSpPr>
          <p:cNvPr id="3" name="日付プレースホルダー 2"/>
          <p:cNvSpPr>
            <a:spLocks noGrp="1"/>
          </p:cNvSpPr>
          <p:nvPr>
            <p:ph type="dt" sz="half" idx="10"/>
          </p:nvPr>
        </p:nvSpPr>
        <p:spPr/>
        <p:txBody>
          <a:bodyPr/>
          <a:lstStyle/>
          <a:p>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Tree>
    <p:extLst>
      <p:ext uri="{BB962C8B-B14F-4D97-AF65-F5344CB8AC3E}">
        <p14:creationId xmlns:p14="http://schemas.microsoft.com/office/powerpoint/2010/main" val="97597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Tree>
    <p:extLst>
      <p:ext uri="{BB962C8B-B14F-4D97-AF65-F5344CB8AC3E}">
        <p14:creationId xmlns:p14="http://schemas.microsoft.com/office/powerpoint/2010/main" val="35032015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839788" y="457200"/>
            <a:ext cx="3932237" cy="1600200"/>
          </a:xfrm>
        </p:spPr>
        <p:txBody>
          <a:bodyPr anchor="b"/>
          <a:lstStyle>
            <a:lvl1pPr>
              <a:defRPr sz="3200"/>
            </a:lvl1pPr>
          </a:lstStyle>
          <a:p>
            <a:r>
              <a:rPr kumimoji="1" lang="ja-JP" altLang="en-US" dirty="0" smtClean="0"/>
              <a:t>マスター タイトルの書式設定</a:t>
            </a:r>
            <a:endParaRPr kumimoji="1" lang="ja-JP" altLang="en-US" dirty="0"/>
          </a:p>
        </p:txBody>
      </p:sp>
      <p:sp>
        <p:nvSpPr>
          <p:cNvPr id="3" name="コンテンツ プレースホルダー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4" name="テキスト プレースホルダー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Tree>
    <p:extLst>
      <p:ext uri="{BB962C8B-B14F-4D97-AF65-F5344CB8AC3E}">
        <p14:creationId xmlns:p14="http://schemas.microsoft.com/office/powerpoint/2010/main" val="112040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839788" y="457200"/>
            <a:ext cx="3932237" cy="1600200"/>
          </a:xfrm>
        </p:spPr>
        <p:txBody>
          <a:bodyPr anchor="b"/>
          <a:lstStyle>
            <a:lvl1pPr>
              <a:defRPr sz="3200"/>
            </a:lvl1pPr>
          </a:lstStyle>
          <a:p>
            <a:r>
              <a:rPr kumimoji="1" lang="ja-JP" altLang="en-US" smtClean="0"/>
              <a:t>マスター タイトルの書式設定</a:t>
            </a:r>
            <a:endParaRPr kumimoji="1" lang="ja-JP" altLang="en-US"/>
          </a:p>
        </p:txBody>
      </p:sp>
      <p:sp>
        <p:nvSpPr>
          <p:cNvPr id="3" name="図プレースホルダー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smtClean="0"/>
              <a:t>マスター テキストの書式設定</a:t>
            </a:r>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Tree>
    <p:extLst>
      <p:ext uri="{BB962C8B-B14F-4D97-AF65-F5344CB8AC3E}">
        <p14:creationId xmlns:p14="http://schemas.microsoft.com/office/powerpoint/2010/main" val="19803263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838200" y="836593"/>
            <a:ext cx="10515600" cy="854095"/>
          </a:xfrm>
          <a:prstGeom prst="rect">
            <a:avLst/>
          </a:prstGeom>
        </p:spPr>
        <p:txBody>
          <a:bodyPr vert="horz" lIns="91440" tIns="45720" rIns="91440" bIns="45720" rtlCol="0" anchor="ctr">
            <a:normAutofit/>
          </a:bodyPr>
          <a:lstStyle/>
          <a:p>
            <a:r>
              <a:rPr kumimoji="1" lang="ja-JP" altLang="en-US" dirty="0" smtClean="0"/>
              <a:t>マスター タイトルの書式設定</a:t>
            </a:r>
            <a:endParaRPr kumimoji="1" lang="ja-JP" altLang="en-US" dirty="0"/>
          </a:p>
        </p:txBody>
      </p:sp>
      <p:sp>
        <p:nvSpPr>
          <p:cNvPr id="3" name="テキスト プレースホルダー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dirty="0" smtClean="0"/>
              <a:t>マスター テキストの書式設定</a:t>
            </a:r>
          </a:p>
          <a:p>
            <a:pPr lvl="1"/>
            <a:r>
              <a:rPr kumimoji="1" lang="ja-JP" altLang="en-US" dirty="0" smtClean="0"/>
              <a:t>第 </a:t>
            </a:r>
            <a:r>
              <a:rPr kumimoji="1" lang="en-US" altLang="ja-JP" dirty="0" smtClean="0"/>
              <a:t>2 </a:t>
            </a:r>
            <a:r>
              <a:rPr kumimoji="1" lang="ja-JP" altLang="en-US" dirty="0" smtClean="0"/>
              <a:t>レベル</a:t>
            </a:r>
          </a:p>
          <a:p>
            <a:pPr lvl="2"/>
            <a:r>
              <a:rPr kumimoji="1" lang="ja-JP" altLang="en-US" dirty="0" smtClean="0"/>
              <a:t>第 </a:t>
            </a:r>
            <a:r>
              <a:rPr kumimoji="1" lang="en-US" altLang="ja-JP" dirty="0" smtClean="0"/>
              <a:t>3 </a:t>
            </a:r>
            <a:r>
              <a:rPr kumimoji="1" lang="ja-JP" altLang="en-US" dirty="0" smtClean="0"/>
              <a:t>レベル</a:t>
            </a:r>
          </a:p>
          <a:p>
            <a:pPr lvl="3"/>
            <a:r>
              <a:rPr kumimoji="1" lang="ja-JP" altLang="en-US" dirty="0" smtClean="0"/>
              <a:t>第 </a:t>
            </a:r>
            <a:r>
              <a:rPr kumimoji="1" lang="en-US" altLang="ja-JP" dirty="0" smtClean="0"/>
              <a:t>4 </a:t>
            </a:r>
            <a:r>
              <a:rPr kumimoji="1" lang="ja-JP" altLang="en-US" dirty="0" smtClean="0"/>
              <a:t>レベル</a:t>
            </a:r>
          </a:p>
          <a:p>
            <a:pPr lvl="4"/>
            <a:r>
              <a:rPr kumimoji="1" lang="ja-JP" altLang="en-US" dirty="0" smtClean="0"/>
              <a:t>第 </a:t>
            </a:r>
            <a:r>
              <a:rPr kumimoji="1" lang="en-US" altLang="ja-JP" dirty="0" smtClean="0"/>
              <a:t>5 </a:t>
            </a:r>
            <a:r>
              <a:rPr kumimoji="1" lang="ja-JP" altLang="en-US" dirty="0" smtClean="0"/>
              <a:t>レベル</a:t>
            </a:r>
            <a:endParaRPr kumimoji="1" lang="ja-JP" altLang="en-US" dirty="0"/>
          </a:p>
        </p:txBody>
      </p:sp>
      <p:sp>
        <p:nvSpPr>
          <p:cNvPr id="4" name="日付プレースホルダー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kumimoji="1" lang="ja-JP" altLang="en-US"/>
          </a:p>
        </p:txBody>
      </p:sp>
      <p:sp>
        <p:nvSpPr>
          <p:cNvPr id="5" name="フッター プレースホルダー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cxnSp>
        <p:nvCxnSpPr>
          <p:cNvPr id="8" name="直線コネクタ 7"/>
          <p:cNvCxnSpPr/>
          <p:nvPr userDrawn="1"/>
        </p:nvCxnSpPr>
        <p:spPr>
          <a:xfrm flipV="1">
            <a:off x="640023" y="693201"/>
            <a:ext cx="10911954" cy="1"/>
          </a:xfrm>
          <a:prstGeom prst="line">
            <a:avLst/>
          </a:prstGeom>
          <a:ln w="38100">
            <a:solidFill>
              <a:srgbClr val="33328B"/>
            </a:solidFill>
          </a:ln>
        </p:spPr>
        <p:style>
          <a:lnRef idx="1">
            <a:schemeClr val="accent1"/>
          </a:lnRef>
          <a:fillRef idx="0">
            <a:schemeClr val="accent1"/>
          </a:fillRef>
          <a:effectRef idx="0">
            <a:schemeClr val="accent1"/>
          </a:effectRef>
          <a:fontRef idx="minor">
            <a:schemeClr val="tx1"/>
          </a:fontRef>
        </p:style>
      </p:cxnSp>
      <p:pic>
        <p:nvPicPr>
          <p:cNvPr id="14" name="Picture 2"/>
          <p:cNvPicPr>
            <a:picLocks noChangeAspect="1"/>
          </p:cNvPicPr>
          <p:nvPr userDrawn="1"/>
        </p:nvPicPr>
        <p:blipFill>
          <a:blip r:embed="rId1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96203" y="6212959"/>
            <a:ext cx="1476703" cy="421759"/>
          </a:xfrm>
          <a:prstGeom prst="rect">
            <a:avLst/>
          </a:prstGeom>
        </p:spPr>
      </p:pic>
      <p:sp>
        <p:nvSpPr>
          <p:cNvPr id="7" name="テキスト ボックス 6"/>
          <p:cNvSpPr txBox="1"/>
          <p:nvPr userDrawn="1"/>
        </p:nvSpPr>
        <p:spPr>
          <a:xfrm>
            <a:off x="11587744" y="6423838"/>
            <a:ext cx="44275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64C4340-2839-4183-B120-7B67E4CE47A9}" type="slidenum">
              <a:rPr kumimoji="1" lang="ja-JP" altLang="en-US" sz="1200" kern="1200" smtClean="0">
                <a:solidFill>
                  <a:schemeClr val="tx1"/>
                </a:solidFill>
                <a:latin typeface="Meiryo UI" panose="020B0604030504040204" pitchFamily="50" charset="-128"/>
                <a:ea typeface="Meiryo UI" panose="020B0604030504040204" pitchFamily="50" charset="-128"/>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1" lang="ja-JP" altLang="en-US" sz="1200" kern="1200" dirty="0" smtClean="0">
              <a:solidFill>
                <a:schemeClr val="tx1"/>
              </a:solidFill>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21464730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iming>
    <p:tnLst>
      <p:par>
        <p:cTn id="1" dur="indefinite" restart="never" nodeType="tmRoot"/>
      </p:par>
    </p:tnLst>
  </p:timing>
  <p:hf sldNum="0" hdr="0" ftr="0" dt="0"/>
  <p:txStyles>
    <p:titleStyle>
      <a:lvl1pPr algn="l" defTabSz="914400" rtl="0" eaLnBrk="1" latinLnBrk="0" hangingPunct="1">
        <a:lnSpc>
          <a:spcPct val="90000"/>
        </a:lnSpc>
        <a:spcBef>
          <a:spcPct val="0"/>
        </a:spcBef>
        <a:buNone/>
        <a:defRPr kumimoji="1" sz="4400" kern="1200">
          <a:solidFill>
            <a:schemeClr val="tx1"/>
          </a:solidFill>
          <a:latin typeface="メイリオ" panose="020B0604030504040204" pitchFamily="50" charset="-128"/>
          <a:ea typeface="メイリオ" panose="020B0604030504040204" pitchFamily="50" charset="-128"/>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メイリオ" panose="020B0604030504040204" pitchFamily="50" charset="-128"/>
          <a:ea typeface="メイリオ" panose="020B0604030504040204"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メイリオ" panose="020B0604030504040204" pitchFamily="50" charset="-128"/>
          <a:ea typeface="メイリオ" panose="020B0604030504040204"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メイリオ" panose="020B0604030504040204" pitchFamily="50" charset="-128"/>
          <a:ea typeface="メイリオ" panose="020B0604030504040204"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メイリオ" panose="020B0604030504040204" pitchFamily="50" charset="-128"/>
          <a:ea typeface="メイリオ" panose="020B0604030504040204"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メイリオ" panose="020B0604030504040204" pitchFamily="50" charset="-128"/>
          <a:ea typeface="メイリオ" panose="020B0604030504040204"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3" Type="http://schemas.openxmlformats.org/officeDocument/2006/relationships/image" Target="../media/image71.png"/><Relationship Id="rId18" Type="http://schemas.openxmlformats.org/officeDocument/2006/relationships/image" Target="../media/image76.png"/><Relationship Id="rId26" Type="http://schemas.openxmlformats.org/officeDocument/2006/relationships/image" Target="../media/image84.png"/><Relationship Id="rId39" Type="http://schemas.openxmlformats.org/officeDocument/2006/relationships/image" Target="../media/image97.png"/><Relationship Id="rId21" Type="http://schemas.openxmlformats.org/officeDocument/2006/relationships/image" Target="../media/image79.png"/><Relationship Id="rId34" Type="http://schemas.openxmlformats.org/officeDocument/2006/relationships/image" Target="../media/image92.emf"/><Relationship Id="rId42" Type="http://schemas.openxmlformats.org/officeDocument/2006/relationships/image" Target="../media/image100.png"/><Relationship Id="rId47" Type="http://schemas.openxmlformats.org/officeDocument/2006/relationships/image" Target="../media/image105.jpeg"/><Relationship Id="rId50" Type="http://schemas.openxmlformats.org/officeDocument/2006/relationships/image" Target="../media/image108.emf"/><Relationship Id="rId55" Type="http://schemas.openxmlformats.org/officeDocument/2006/relationships/image" Target="../media/image113.png"/><Relationship Id="rId7" Type="http://schemas.openxmlformats.org/officeDocument/2006/relationships/image" Target="../media/image65.png"/><Relationship Id="rId2" Type="http://schemas.openxmlformats.org/officeDocument/2006/relationships/notesSlide" Target="../notesSlides/notesSlide11.xml"/><Relationship Id="rId16" Type="http://schemas.openxmlformats.org/officeDocument/2006/relationships/image" Target="../media/image74.png"/><Relationship Id="rId29" Type="http://schemas.openxmlformats.org/officeDocument/2006/relationships/image" Target="../media/image87.png"/><Relationship Id="rId11" Type="http://schemas.openxmlformats.org/officeDocument/2006/relationships/image" Target="../media/image69.png"/><Relationship Id="rId24" Type="http://schemas.openxmlformats.org/officeDocument/2006/relationships/image" Target="../media/image82.emf"/><Relationship Id="rId32" Type="http://schemas.openxmlformats.org/officeDocument/2006/relationships/image" Target="../media/image90.png"/><Relationship Id="rId37" Type="http://schemas.openxmlformats.org/officeDocument/2006/relationships/image" Target="../media/image95.png"/><Relationship Id="rId40" Type="http://schemas.openxmlformats.org/officeDocument/2006/relationships/image" Target="../media/image98.emf"/><Relationship Id="rId45" Type="http://schemas.openxmlformats.org/officeDocument/2006/relationships/image" Target="../media/image103.png"/><Relationship Id="rId53" Type="http://schemas.openxmlformats.org/officeDocument/2006/relationships/image" Target="../media/image111.png"/><Relationship Id="rId5" Type="http://schemas.openxmlformats.org/officeDocument/2006/relationships/image" Target="../media/image63.png"/><Relationship Id="rId10" Type="http://schemas.openxmlformats.org/officeDocument/2006/relationships/image" Target="../media/image68.png"/><Relationship Id="rId19" Type="http://schemas.openxmlformats.org/officeDocument/2006/relationships/image" Target="../media/image77.png"/><Relationship Id="rId31" Type="http://schemas.openxmlformats.org/officeDocument/2006/relationships/image" Target="../media/image89.png"/><Relationship Id="rId44" Type="http://schemas.openxmlformats.org/officeDocument/2006/relationships/image" Target="../media/image102.png"/><Relationship Id="rId52" Type="http://schemas.openxmlformats.org/officeDocument/2006/relationships/image" Target="../media/image110.png"/><Relationship Id="rId4" Type="http://schemas.openxmlformats.org/officeDocument/2006/relationships/image" Target="../media/image62.png"/><Relationship Id="rId9" Type="http://schemas.openxmlformats.org/officeDocument/2006/relationships/image" Target="../media/image67.emf"/><Relationship Id="rId14" Type="http://schemas.openxmlformats.org/officeDocument/2006/relationships/image" Target="../media/image72.emf"/><Relationship Id="rId22" Type="http://schemas.openxmlformats.org/officeDocument/2006/relationships/image" Target="../media/image80.png"/><Relationship Id="rId27" Type="http://schemas.openxmlformats.org/officeDocument/2006/relationships/image" Target="../media/image85.png"/><Relationship Id="rId30" Type="http://schemas.openxmlformats.org/officeDocument/2006/relationships/image" Target="../media/image88.emf"/><Relationship Id="rId35" Type="http://schemas.openxmlformats.org/officeDocument/2006/relationships/image" Target="../media/image93.png"/><Relationship Id="rId43" Type="http://schemas.openxmlformats.org/officeDocument/2006/relationships/image" Target="../media/image101.png"/><Relationship Id="rId48" Type="http://schemas.openxmlformats.org/officeDocument/2006/relationships/image" Target="../media/image106.png"/><Relationship Id="rId56" Type="http://schemas.openxmlformats.org/officeDocument/2006/relationships/image" Target="../media/image114.png"/><Relationship Id="rId8" Type="http://schemas.openxmlformats.org/officeDocument/2006/relationships/image" Target="../media/image66.emf"/><Relationship Id="rId51" Type="http://schemas.openxmlformats.org/officeDocument/2006/relationships/image" Target="../media/image109.png"/><Relationship Id="rId3" Type="http://schemas.openxmlformats.org/officeDocument/2006/relationships/image" Target="../media/image61.emf"/><Relationship Id="rId12" Type="http://schemas.openxmlformats.org/officeDocument/2006/relationships/image" Target="../media/image70.png"/><Relationship Id="rId17" Type="http://schemas.openxmlformats.org/officeDocument/2006/relationships/image" Target="../media/image75.png"/><Relationship Id="rId25" Type="http://schemas.openxmlformats.org/officeDocument/2006/relationships/image" Target="../media/image83.png"/><Relationship Id="rId33" Type="http://schemas.openxmlformats.org/officeDocument/2006/relationships/image" Target="../media/image91.emf"/><Relationship Id="rId38" Type="http://schemas.openxmlformats.org/officeDocument/2006/relationships/image" Target="../media/image96.png"/><Relationship Id="rId46" Type="http://schemas.openxmlformats.org/officeDocument/2006/relationships/image" Target="../media/image104.png"/><Relationship Id="rId20" Type="http://schemas.openxmlformats.org/officeDocument/2006/relationships/image" Target="../media/image78.png"/><Relationship Id="rId41" Type="http://schemas.openxmlformats.org/officeDocument/2006/relationships/image" Target="../media/image99.emf"/><Relationship Id="rId54" Type="http://schemas.openxmlformats.org/officeDocument/2006/relationships/image" Target="../media/image112.png"/><Relationship Id="rId1" Type="http://schemas.openxmlformats.org/officeDocument/2006/relationships/slideLayout" Target="../slideLayouts/slideLayout12.xml"/><Relationship Id="rId6" Type="http://schemas.openxmlformats.org/officeDocument/2006/relationships/image" Target="../media/image64.png"/><Relationship Id="rId15" Type="http://schemas.openxmlformats.org/officeDocument/2006/relationships/image" Target="../media/image73.emf"/><Relationship Id="rId23" Type="http://schemas.openxmlformats.org/officeDocument/2006/relationships/image" Target="../media/image81.png"/><Relationship Id="rId28" Type="http://schemas.openxmlformats.org/officeDocument/2006/relationships/image" Target="../media/image86.png"/><Relationship Id="rId36" Type="http://schemas.openxmlformats.org/officeDocument/2006/relationships/image" Target="../media/image94.png"/><Relationship Id="rId49" Type="http://schemas.openxmlformats.org/officeDocument/2006/relationships/image" Target="../media/image107.png"/></Relationships>
</file>

<file path=ppt/slides/_rels/slide12.xml.rels><?xml version="1.0" encoding="UTF-8" standalone="yes"?>
<Relationships xmlns="http://schemas.openxmlformats.org/package/2006/relationships"><Relationship Id="rId8" Type="http://schemas.openxmlformats.org/officeDocument/2006/relationships/image" Target="../media/image119.jpeg"/><Relationship Id="rId3" Type="http://schemas.openxmlformats.org/officeDocument/2006/relationships/image" Target="../media/image21.jpeg"/><Relationship Id="rId7" Type="http://schemas.openxmlformats.org/officeDocument/2006/relationships/image" Target="../media/image118.jpeg"/><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117.jpeg"/><Relationship Id="rId5" Type="http://schemas.openxmlformats.org/officeDocument/2006/relationships/image" Target="../media/image116.png"/><Relationship Id="rId4" Type="http://schemas.openxmlformats.org/officeDocument/2006/relationships/image" Target="../media/image115.png"/><Relationship Id="rId9" Type="http://schemas.openxmlformats.org/officeDocument/2006/relationships/image" Target="../media/image120.jpeg"/></Relationships>
</file>

<file path=ppt/slides/_rels/slide13.xml.rels><?xml version="1.0" encoding="UTF-8" standalone="yes"?>
<Relationships xmlns="http://schemas.openxmlformats.org/package/2006/relationships"><Relationship Id="rId3" Type="http://schemas.openxmlformats.org/officeDocument/2006/relationships/image" Target="../media/image121.jpe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123.jpeg"/><Relationship Id="rId5" Type="http://schemas.microsoft.com/office/2007/relationships/hdphoto" Target="../media/hdphoto6.wdp"/><Relationship Id="rId4" Type="http://schemas.openxmlformats.org/officeDocument/2006/relationships/image" Target="../media/image122.png"/></Relationships>
</file>

<file path=ppt/slides/_rels/slide14.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0.png"/><Relationship Id="rId3" Type="http://schemas.openxmlformats.org/officeDocument/2006/relationships/image" Target="../media/image4.png"/><Relationship Id="rId7" Type="http://schemas.microsoft.com/office/2007/relationships/hdphoto" Target="../media/hdphoto2.wdp"/><Relationship Id="rId12"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6.png"/><Relationship Id="rId11" Type="http://schemas.microsoft.com/office/2007/relationships/hdphoto" Target="../media/hdphoto4.wdp"/><Relationship Id="rId5" Type="http://schemas.microsoft.com/office/2007/relationships/hdphoto" Target="../media/hdphoto1.wdp"/><Relationship Id="rId10" Type="http://schemas.openxmlformats.org/officeDocument/2006/relationships/image" Target="../media/image8.png"/><Relationship Id="rId4" Type="http://schemas.openxmlformats.org/officeDocument/2006/relationships/image" Target="../media/image5.png"/><Relationship Id="rId9" Type="http://schemas.microsoft.com/office/2007/relationships/hdphoto" Target="../media/hdphoto3.wdp"/><Relationship Id="rId14" Type="http://schemas.microsoft.com/office/2007/relationships/hdphoto" Target="../media/hdphoto5.wdp"/></Relationships>
</file>

<file path=ppt/slides/_rels/slide6.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jpe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jpeg"/><Relationship Id="rId10" Type="http://schemas.openxmlformats.org/officeDocument/2006/relationships/image" Target="../media/image18.png"/><Relationship Id="rId4" Type="http://schemas.openxmlformats.org/officeDocument/2006/relationships/image" Target="../media/image12.jpeg"/><Relationship Id="rId9" Type="http://schemas.openxmlformats.org/officeDocument/2006/relationships/image" Target="../media/image17.png"/></Relationships>
</file>

<file path=ppt/slides/_rels/slide7.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19.png"/><Relationship Id="rId3" Type="http://schemas.openxmlformats.org/officeDocument/2006/relationships/image" Target="../media/image22.png"/><Relationship Id="rId7" Type="http://schemas.openxmlformats.org/officeDocument/2006/relationships/image" Target="../media/image26.png"/><Relationship Id="rId12"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image" Target="../media/image25.png"/><Relationship Id="rId11" Type="http://schemas.openxmlformats.org/officeDocument/2006/relationships/image" Target="../media/image17.png"/><Relationship Id="rId5" Type="http://schemas.openxmlformats.org/officeDocument/2006/relationships/image" Target="../media/image24.png"/><Relationship Id="rId10" Type="http://schemas.openxmlformats.org/officeDocument/2006/relationships/image" Target="../media/image16.png"/><Relationship Id="rId4" Type="http://schemas.openxmlformats.org/officeDocument/2006/relationships/image" Target="../media/image23.png"/><Relationship Id="rId9" Type="http://schemas.openxmlformats.org/officeDocument/2006/relationships/image" Target="../media/image15.png"/></Relationships>
</file>

<file path=ppt/slides/_rels/slide8.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3" Type="http://schemas.openxmlformats.org/officeDocument/2006/relationships/image" Target="../media/image28.png"/><Relationship Id="rId7" Type="http://schemas.openxmlformats.org/officeDocument/2006/relationships/image" Target="../media/image32.png"/><Relationship Id="rId12" Type="http://schemas.openxmlformats.org/officeDocument/2006/relationships/image" Target="../media/image37.png"/><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31.png"/><Relationship Id="rId11" Type="http://schemas.openxmlformats.org/officeDocument/2006/relationships/image" Target="../media/image36.png"/><Relationship Id="rId5" Type="http://schemas.openxmlformats.org/officeDocument/2006/relationships/image" Target="../media/image30.png"/><Relationship Id="rId15" Type="http://schemas.openxmlformats.org/officeDocument/2006/relationships/image" Target="../media/image40.pn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png"/><Relationship Id="rId14" Type="http://schemas.openxmlformats.org/officeDocument/2006/relationships/image" Target="../media/image39.png"/></Relationships>
</file>

<file path=ppt/slides/_rels/slide9.xml.rels><?xml version="1.0" encoding="UTF-8" standalone="yes"?>
<Relationships xmlns="http://schemas.openxmlformats.org/package/2006/relationships"><Relationship Id="rId8" Type="http://schemas.openxmlformats.org/officeDocument/2006/relationships/image" Target="../media/image46.emf"/><Relationship Id="rId13" Type="http://schemas.openxmlformats.org/officeDocument/2006/relationships/image" Target="../media/image51.png"/><Relationship Id="rId18" Type="http://schemas.openxmlformats.org/officeDocument/2006/relationships/image" Target="../media/image56.png"/><Relationship Id="rId3" Type="http://schemas.openxmlformats.org/officeDocument/2006/relationships/image" Target="../media/image41.png"/><Relationship Id="rId21" Type="http://schemas.openxmlformats.org/officeDocument/2006/relationships/image" Target="../media/image59.png"/><Relationship Id="rId7" Type="http://schemas.openxmlformats.org/officeDocument/2006/relationships/image" Target="../media/image45.emf"/><Relationship Id="rId12" Type="http://schemas.openxmlformats.org/officeDocument/2006/relationships/image" Target="../media/image50.png"/><Relationship Id="rId17" Type="http://schemas.openxmlformats.org/officeDocument/2006/relationships/image" Target="../media/image55.png"/><Relationship Id="rId2" Type="http://schemas.openxmlformats.org/officeDocument/2006/relationships/notesSlide" Target="../notesSlides/notesSlide9.xml"/><Relationship Id="rId16" Type="http://schemas.openxmlformats.org/officeDocument/2006/relationships/image" Target="../media/image54.png"/><Relationship Id="rId20" Type="http://schemas.openxmlformats.org/officeDocument/2006/relationships/image" Target="../media/image58.png"/><Relationship Id="rId1" Type="http://schemas.openxmlformats.org/officeDocument/2006/relationships/slideLayout" Target="../slideLayouts/slideLayout12.xml"/><Relationship Id="rId6" Type="http://schemas.openxmlformats.org/officeDocument/2006/relationships/image" Target="../media/image44.png"/><Relationship Id="rId11" Type="http://schemas.openxmlformats.org/officeDocument/2006/relationships/image" Target="../media/image49.png"/><Relationship Id="rId5" Type="http://schemas.openxmlformats.org/officeDocument/2006/relationships/image" Target="../media/image43.emf"/><Relationship Id="rId15" Type="http://schemas.openxmlformats.org/officeDocument/2006/relationships/image" Target="../media/image53.png"/><Relationship Id="rId10" Type="http://schemas.openxmlformats.org/officeDocument/2006/relationships/image" Target="../media/image48.emf"/><Relationship Id="rId19" Type="http://schemas.openxmlformats.org/officeDocument/2006/relationships/image" Target="../media/image57.png"/><Relationship Id="rId4" Type="http://schemas.openxmlformats.org/officeDocument/2006/relationships/image" Target="../media/image42.emf"/><Relationship Id="rId9" Type="http://schemas.openxmlformats.org/officeDocument/2006/relationships/image" Target="../media/image47.png"/><Relationship Id="rId14" Type="http://schemas.openxmlformats.org/officeDocument/2006/relationships/image" Target="../media/image52.emf"/><Relationship Id="rId22" Type="http://schemas.openxmlformats.org/officeDocument/2006/relationships/image" Target="../media/image6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579120" y="1620494"/>
            <a:ext cx="10952480" cy="2387600"/>
          </a:xfrm>
        </p:spPr>
        <p:txBody>
          <a:bodyPr>
            <a:normAutofit/>
          </a:bodyPr>
          <a:lstStyle/>
          <a:p>
            <a:pPr>
              <a:lnSpc>
                <a:spcPts val="7500"/>
              </a:lnSpc>
              <a:spcBef>
                <a:spcPts val="0"/>
              </a:spcBef>
            </a:pPr>
            <a:r>
              <a:rPr lang="en-US" altLang="ja-JP" b="1" dirty="0" smtClean="0">
                <a:solidFill>
                  <a:srgbClr val="33328B"/>
                </a:solidFill>
                <a:latin typeface="Meiryo UI" panose="020B0604030504040204" pitchFamily="50" charset="-128"/>
                <a:ea typeface="Meiryo UI" panose="020B0604030504040204" pitchFamily="50" charset="-128"/>
              </a:rPr>
              <a:t>Osaka Metro</a:t>
            </a:r>
            <a:r>
              <a:rPr lang="ja-JP" altLang="en-US" b="1" dirty="0" smtClean="0">
                <a:solidFill>
                  <a:srgbClr val="33328B"/>
                </a:solidFill>
                <a:latin typeface="Meiryo UI" panose="020B0604030504040204" pitchFamily="50" charset="-128"/>
                <a:ea typeface="Meiryo UI" panose="020B0604030504040204" pitchFamily="50" charset="-128"/>
              </a:rPr>
              <a:t>が目指す</a:t>
            </a:r>
            <a:r>
              <a:rPr lang="en-US" altLang="ja-JP" b="1" dirty="0" smtClean="0">
                <a:solidFill>
                  <a:srgbClr val="33328B"/>
                </a:solidFill>
                <a:latin typeface="Meiryo UI" panose="020B0604030504040204" pitchFamily="50" charset="-128"/>
                <a:ea typeface="Meiryo UI" panose="020B0604030504040204" pitchFamily="50" charset="-128"/>
              </a:rPr>
              <a:t/>
            </a:r>
            <a:br>
              <a:rPr lang="en-US" altLang="ja-JP" b="1" dirty="0" smtClean="0">
                <a:solidFill>
                  <a:srgbClr val="33328B"/>
                </a:solidFill>
                <a:latin typeface="Meiryo UI" panose="020B0604030504040204" pitchFamily="50" charset="-128"/>
                <a:ea typeface="Meiryo UI" panose="020B0604030504040204" pitchFamily="50" charset="-128"/>
              </a:rPr>
            </a:br>
            <a:r>
              <a:rPr lang="ja-JP" altLang="en-US" b="1" dirty="0" smtClean="0">
                <a:solidFill>
                  <a:srgbClr val="33328B"/>
                </a:solidFill>
                <a:latin typeface="Meiryo UI" panose="020B0604030504040204" pitchFamily="50" charset="-128"/>
                <a:ea typeface="Meiryo UI" panose="020B0604030504040204" pitchFamily="50" charset="-128"/>
              </a:rPr>
              <a:t>新しい交通のかたち</a:t>
            </a:r>
            <a:endParaRPr kumimoji="1" lang="ja-JP" altLang="en-US" sz="4400" b="1" dirty="0">
              <a:solidFill>
                <a:srgbClr val="33328B"/>
              </a:solidFill>
            </a:endParaRPr>
          </a:p>
        </p:txBody>
      </p:sp>
      <p:sp>
        <p:nvSpPr>
          <p:cNvPr id="3" name="サブタイトル 2"/>
          <p:cNvSpPr>
            <a:spLocks noGrp="1"/>
          </p:cNvSpPr>
          <p:nvPr>
            <p:ph type="subTitle" idx="1"/>
          </p:nvPr>
        </p:nvSpPr>
        <p:spPr>
          <a:xfrm>
            <a:off x="7925724" y="5196523"/>
            <a:ext cx="3919913" cy="1342822"/>
          </a:xfrm>
        </p:spPr>
        <p:txBody>
          <a:bodyPr>
            <a:normAutofit/>
          </a:bodyPr>
          <a:lstStyle/>
          <a:p>
            <a:pPr algn="l">
              <a:lnSpc>
                <a:spcPct val="100000"/>
              </a:lnSpc>
            </a:pPr>
            <a:r>
              <a:rPr lang="zh-TW" altLang="en-US" sz="2000" dirty="0" smtClean="0">
                <a:latin typeface="Meiryo UI" panose="020B0604030504040204" pitchFamily="50" charset="-128"/>
                <a:ea typeface="Meiryo UI" panose="020B0604030504040204" pitchFamily="50" charset="-128"/>
              </a:rPr>
              <a:t>大阪市高速電気軌道株式会社</a:t>
            </a:r>
            <a:br>
              <a:rPr lang="zh-TW" altLang="en-US" sz="2000" dirty="0" smtClean="0">
                <a:latin typeface="Meiryo UI" panose="020B0604030504040204" pitchFamily="50" charset="-128"/>
                <a:ea typeface="Meiryo UI" panose="020B0604030504040204" pitchFamily="50" charset="-128"/>
              </a:rPr>
            </a:br>
            <a:r>
              <a:rPr lang="zh-TW" altLang="en-US" sz="2000" dirty="0" smtClean="0">
                <a:latin typeface="Meiryo UI" panose="020B0604030504040204" pitchFamily="50" charset="-128"/>
                <a:ea typeface="Meiryo UI" panose="020B0604030504040204" pitchFamily="50" charset="-128"/>
              </a:rPr>
              <a:t>常務取締役 鉄道事業本部長</a:t>
            </a:r>
            <a:endParaRPr lang="en-US" altLang="zh-TW" sz="2000" dirty="0" smtClean="0">
              <a:latin typeface="Meiryo UI" panose="020B0604030504040204" pitchFamily="50" charset="-128"/>
              <a:ea typeface="Meiryo UI" panose="020B0604030504040204" pitchFamily="50" charset="-128"/>
            </a:endParaRPr>
          </a:p>
          <a:p>
            <a:pPr algn="l">
              <a:lnSpc>
                <a:spcPct val="100000"/>
              </a:lnSpc>
            </a:pPr>
            <a:r>
              <a:rPr lang="ja-JP" altLang="en-US" sz="2000" dirty="0" smtClean="0">
                <a:latin typeface="Meiryo UI" panose="020B0604030504040204" pitchFamily="50" charset="-128"/>
                <a:ea typeface="Meiryo UI" panose="020B0604030504040204" pitchFamily="50" charset="-128"/>
              </a:rPr>
              <a:t>西野 肇</a:t>
            </a:r>
            <a:endParaRPr kumimoji="1" lang="ja-JP" altLang="en-US" sz="2000" dirty="0">
              <a:latin typeface="Meiryo UI" panose="020B0604030504040204" pitchFamily="50" charset="-128"/>
              <a:ea typeface="Meiryo UI" panose="020B0604030504040204" pitchFamily="50" charset="-128"/>
            </a:endParaRPr>
          </a:p>
        </p:txBody>
      </p:sp>
      <p:sp>
        <p:nvSpPr>
          <p:cNvPr id="4" name="テキスト ボックス 3"/>
          <p:cNvSpPr txBox="1"/>
          <p:nvPr/>
        </p:nvSpPr>
        <p:spPr>
          <a:xfrm>
            <a:off x="10249297" y="279721"/>
            <a:ext cx="1282303" cy="338554"/>
          </a:xfrm>
          <a:prstGeom prst="rect">
            <a:avLst/>
          </a:prstGeom>
          <a:solidFill>
            <a:schemeClr val="bg1"/>
          </a:solidFill>
          <a:ln>
            <a:solidFill>
              <a:schemeClr val="tx1"/>
            </a:solidFill>
          </a:ln>
        </p:spPr>
        <p:txBody>
          <a:bodyPr wrap="square" rtlCol="0">
            <a:spAutoFit/>
          </a:bodyPr>
          <a:lstStyle/>
          <a:p>
            <a:pPr algn="ctr"/>
            <a:r>
              <a:rPr kumimoji="1" lang="ja-JP" altLang="en-US" sz="1600" dirty="0" smtClean="0">
                <a:latin typeface="ＭＳ Ｐゴシック" panose="020B0600070205080204" pitchFamily="50" charset="-128"/>
                <a:ea typeface="ＭＳ Ｐゴシック" panose="020B0600070205080204" pitchFamily="50" charset="-128"/>
              </a:rPr>
              <a:t>資料３－４</a:t>
            </a:r>
            <a:endParaRPr kumimoji="1" lang="ja-JP" altLang="en-US" sz="1600" dirty="0">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139281498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Block arrow"/>
          <p:cNvSpPr>
            <a:spLocks noChangeArrowheads="1"/>
          </p:cNvSpPr>
          <p:nvPr/>
        </p:nvSpPr>
        <p:spPr bwMode="gray">
          <a:xfrm rot="16200000">
            <a:off x="6398238" y="3874563"/>
            <a:ext cx="414662" cy="2235900"/>
          </a:xfrm>
          <a:prstGeom prst="rightArrow">
            <a:avLst>
              <a:gd name="adj1" fmla="val 50000"/>
              <a:gd name="adj2" fmla="val 65807"/>
            </a:avLst>
          </a:prstGeom>
          <a:solidFill>
            <a:schemeClr val="accent1">
              <a:lumMod val="75000"/>
            </a:schemeClr>
          </a:solidFill>
          <a:ln w="9525" algn="ctr">
            <a:solidFill>
              <a:srgbClr val="B2B2B2"/>
            </a:solidFill>
            <a:miter lim="800000"/>
            <a:headEnd/>
            <a:tailEnd/>
          </a:ln>
        </p:spPr>
        <p:txBody>
          <a:bodyPr wrap="none" anchor="ctr"/>
          <a:lstStyle/>
          <a:p>
            <a:pPr algn="ctr">
              <a:defRPr/>
            </a:pPr>
            <a:endParaRPr kumimoji="0" lang="en-US" sz="1600" b="1" dirty="0">
              <a:solidFill>
                <a:srgbClr val="000000"/>
              </a:solidFill>
              <a:latin typeface="Arial" pitchFamily="34" charset="0"/>
              <a:ea typeface="Meiryo UI"/>
              <a:cs typeface="Arial" pitchFamily="34" charset="0"/>
            </a:endParaRPr>
          </a:p>
        </p:txBody>
      </p:sp>
      <p:sp>
        <p:nvSpPr>
          <p:cNvPr id="65" name="角丸四角形 64"/>
          <p:cNvSpPr/>
          <p:nvPr/>
        </p:nvSpPr>
        <p:spPr>
          <a:xfrm>
            <a:off x="641684" y="3352800"/>
            <a:ext cx="10954893" cy="1411706"/>
          </a:xfrm>
          <a:prstGeom prst="roundRect">
            <a:avLst>
              <a:gd name="adj" fmla="val 0"/>
            </a:avLst>
          </a:prstGeom>
          <a:solidFill>
            <a:srgbClr val="FAE3C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4" name="角丸四角形 63"/>
          <p:cNvSpPr/>
          <p:nvPr/>
        </p:nvSpPr>
        <p:spPr>
          <a:xfrm>
            <a:off x="641684" y="5125453"/>
            <a:ext cx="10954893" cy="989314"/>
          </a:xfrm>
          <a:prstGeom prst="roundRect">
            <a:avLst>
              <a:gd name="adj" fmla="val 0"/>
            </a:avLst>
          </a:prstGeom>
          <a:solidFill>
            <a:srgbClr val="C1CFF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角丸四角形 53"/>
          <p:cNvSpPr/>
          <p:nvPr/>
        </p:nvSpPr>
        <p:spPr>
          <a:xfrm>
            <a:off x="641684" y="2294021"/>
            <a:ext cx="10954893" cy="989314"/>
          </a:xfrm>
          <a:prstGeom prst="roundRect">
            <a:avLst>
              <a:gd name="adj" fmla="val 0"/>
            </a:avLst>
          </a:prstGeom>
          <a:solidFill>
            <a:schemeClr val="accent6">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角丸四角形 8"/>
          <p:cNvSpPr/>
          <p:nvPr/>
        </p:nvSpPr>
        <p:spPr>
          <a:xfrm>
            <a:off x="641684" y="802105"/>
            <a:ext cx="10954893" cy="1411706"/>
          </a:xfrm>
          <a:prstGeom prst="roundRect">
            <a:avLst>
              <a:gd name="adj" fmla="val 0"/>
            </a:avLst>
          </a:prstGeom>
          <a:solidFill>
            <a:srgbClr val="DECFF9"/>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1" name="Oval 20"/>
          <p:cNvSpPr>
            <a:spLocks noChangeArrowheads="1"/>
          </p:cNvSpPr>
          <p:nvPr/>
        </p:nvSpPr>
        <p:spPr bwMode="auto">
          <a:xfrm>
            <a:off x="700315" y="1311417"/>
            <a:ext cx="286614" cy="286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defRPr/>
            </a:pPr>
            <a:r>
              <a:rPr kumimoji="0" lang="en-US" sz="2000" dirty="0">
                <a:solidFill>
                  <a:srgbClr val="FFFFFF"/>
                </a:solidFill>
                <a:latin typeface="Trebuchet MS"/>
                <a:ea typeface="Meiryo UI"/>
              </a:rPr>
              <a:t>1</a:t>
            </a:r>
          </a:p>
        </p:txBody>
      </p:sp>
      <p:sp>
        <p:nvSpPr>
          <p:cNvPr id="53" name="ee4pFootnotes"/>
          <p:cNvSpPr>
            <a:spLocks noChangeArrowheads="1"/>
          </p:cNvSpPr>
          <p:nvPr/>
        </p:nvSpPr>
        <p:spPr bwMode="auto">
          <a:xfrm>
            <a:off x="4881927" y="6198029"/>
            <a:ext cx="6622269" cy="110800"/>
          </a:xfrm>
          <a:prstGeom prst="rect">
            <a:avLst/>
          </a:prstGeom>
          <a:noFill/>
          <a:ln w="9525" algn="ctr">
            <a:noFill/>
            <a:miter lim="800000"/>
            <a:headEnd type="none" w="lg" len="lg"/>
            <a:tailEnd type="none" w="lg" len="lg"/>
          </a:ln>
        </p:spPr>
        <p:txBody>
          <a:bodyPr vert="horz" wrap="square" lIns="0" tIns="0" rIns="0" bIns="0" anchor="b" anchorCtr="0">
            <a:spAutoFit/>
          </a:bodyPr>
          <a:lstStyle/>
          <a:p>
            <a:pPr algn="r">
              <a:lnSpc>
                <a:spcPct val="90000"/>
              </a:lnSpc>
              <a:defRPr/>
            </a:pPr>
            <a:r>
              <a:rPr kumimoji="0" lang="en-US" altLang="ja-JP" sz="800" dirty="0">
                <a:latin typeface="Trebuchet MS" panose="020B0603020202020204" pitchFamily="34" charset="0"/>
                <a:ea typeface="Meiryo UI"/>
                <a:cs typeface="Arial" pitchFamily="34" charset="0"/>
              </a:rPr>
              <a:t>1.</a:t>
            </a:r>
            <a:r>
              <a:rPr kumimoji="0" lang="ja-JP" altLang="en-US" sz="800" dirty="0">
                <a:latin typeface="Trebuchet MS" panose="020B0603020202020204" pitchFamily="34" charset="0"/>
                <a:ea typeface="Meiryo UI"/>
                <a:cs typeface="Arial" pitchFamily="34" charset="0"/>
              </a:rPr>
              <a:t>異なるモビリティ間の乗り継ぎのための</a:t>
            </a:r>
            <a:r>
              <a:rPr kumimoji="0" lang="ja-JP" altLang="en-US" sz="800" dirty="0" smtClean="0">
                <a:latin typeface="Trebuchet MS" panose="020B0603020202020204" pitchFamily="34" charset="0"/>
                <a:ea typeface="Meiryo UI"/>
                <a:cs typeface="Arial" pitchFamily="34" charset="0"/>
              </a:rPr>
              <a:t>場所  </a:t>
            </a:r>
            <a:r>
              <a:rPr kumimoji="0" lang="ja-JP" altLang="ja-JP" sz="800" dirty="0" smtClean="0">
                <a:latin typeface="Trebuchet MS"/>
                <a:ea typeface="Meiryo UI"/>
              </a:rPr>
              <a:t>※</a:t>
            </a:r>
            <a:r>
              <a:rPr kumimoji="0" lang="ja-JP" altLang="en-US" sz="800" dirty="0" smtClean="0">
                <a:latin typeface="Trebuchet MS"/>
                <a:ea typeface="Meiryo UI"/>
              </a:rPr>
              <a:t> </a:t>
            </a:r>
            <a:r>
              <a:rPr kumimoji="0" lang="ja-JP" altLang="ja-JP" sz="800" dirty="0">
                <a:latin typeface="Trebuchet MS"/>
                <a:ea typeface="Meiryo UI"/>
              </a:rPr>
              <a:t>検討中のものも</a:t>
            </a:r>
            <a:r>
              <a:rPr kumimoji="0" lang="ja-JP" altLang="ja-JP" sz="800" dirty="0" smtClean="0">
                <a:latin typeface="Trebuchet MS"/>
                <a:ea typeface="Meiryo UI"/>
              </a:rPr>
              <a:t>含む</a:t>
            </a:r>
            <a:r>
              <a:rPr kumimoji="0" lang="ja-JP" altLang="en-US" sz="800" dirty="0" smtClean="0">
                <a:latin typeface="Trebuchet MS" panose="020B0603020202020204" pitchFamily="34" charset="0"/>
                <a:ea typeface="Meiryo UI"/>
                <a:cs typeface="Arial" pitchFamily="34" charset="0"/>
              </a:rPr>
              <a:t> </a:t>
            </a:r>
            <a:endParaRPr kumimoji="0" lang="en-US" altLang="ja-JP" sz="800" dirty="0">
              <a:latin typeface="Trebuchet MS" panose="020B0603020202020204" pitchFamily="34" charset="0"/>
              <a:ea typeface="Meiryo UI"/>
              <a:cs typeface="Arial" pitchFamily="34" charset="0"/>
            </a:endParaRPr>
          </a:p>
        </p:txBody>
      </p:sp>
      <p:sp>
        <p:nvSpPr>
          <p:cNvPr id="90" name="Rectangle 9"/>
          <p:cNvSpPr/>
          <p:nvPr/>
        </p:nvSpPr>
        <p:spPr>
          <a:xfrm>
            <a:off x="1043308" y="5199844"/>
            <a:ext cx="3601374" cy="864000"/>
          </a:xfrm>
          <a:prstGeom prst="rect">
            <a:avLst/>
          </a:prstGeom>
          <a:solidFill>
            <a:srgbClr val="5E82F4"/>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vert="horz" wrap="none" tIns="90000" bIns="90000" rtlCol="0" anchor="ctr" anchorCtr="0"/>
          <a:lstStyle/>
          <a:p>
            <a:pPr>
              <a:lnSpc>
                <a:spcPts val="2700"/>
              </a:lnSpc>
              <a:tabLst>
                <a:tab pos="355600" algn="l"/>
              </a:tabLst>
              <a:defRPr/>
            </a:pPr>
            <a:r>
              <a:rPr lang="ja-JP" altLang="en-US" sz="2400" b="1" dirty="0">
                <a:solidFill>
                  <a:srgbClr val="FFFFFF"/>
                </a:solidFill>
                <a:latin typeface="Trebuchet MS"/>
                <a:ea typeface="Meiryo UI"/>
                <a:cs typeface="Arial" pitchFamily="34" charset="0"/>
              </a:rPr>
              <a:t>技術基盤でささえる</a:t>
            </a:r>
            <a:endParaRPr lang="ja-JP" altLang="en-US" sz="1600" b="1" dirty="0">
              <a:solidFill>
                <a:srgbClr val="FFFFFF"/>
              </a:solidFill>
              <a:latin typeface="Trebuchet MS"/>
              <a:ea typeface="Meiryo UI"/>
              <a:cs typeface="Arial" pitchFamily="34" charset="0"/>
            </a:endParaRPr>
          </a:p>
          <a:p>
            <a:pPr>
              <a:lnSpc>
                <a:spcPts val="1700"/>
              </a:lnSpc>
              <a:tabLst>
                <a:tab pos="355600" algn="l"/>
              </a:tabLst>
              <a:defRPr/>
            </a:pPr>
            <a:r>
              <a:rPr lang="ja-JP" altLang="en-US" sz="1600" dirty="0">
                <a:solidFill>
                  <a:srgbClr val="FFFFFF"/>
                </a:solidFill>
                <a:latin typeface="Trebuchet MS"/>
                <a:ea typeface="Meiryo UI"/>
                <a:cs typeface="Arial" pitchFamily="34" charset="0"/>
              </a:rPr>
              <a:t>データ連携・自動化などの</a:t>
            </a:r>
            <a:r>
              <a:rPr lang="en-US" altLang="ja-JP" sz="1600" dirty="0">
                <a:solidFill>
                  <a:srgbClr val="FFFFFF"/>
                </a:solidFill>
                <a:latin typeface="Trebuchet MS"/>
                <a:ea typeface="Meiryo UI"/>
                <a:cs typeface="Arial" pitchFamily="34" charset="0"/>
              </a:rPr>
              <a:t/>
            </a:r>
            <a:br>
              <a:rPr lang="en-US" altLang="ja-JP" sz="1600" dirty="0">
                <a:solidFill>
                  <a:srgbClr val="FFFFFF"/>
                </a:solidFill>
                <a:latin typeface="Trebuchet MS"/>
                <a:ea typeface="Meiryo UI"/>
                <a:cs typeface="Arial" pitchFamily="34" charset="0"/>
              </a:rPr>
            </a:br>
            <a:r>
              <a:rPr lang="ja-JP" altLang="en-US" sz="1600" dirty="0">
                <a:solidFill>
                  <a:srgbClr val="FFFFFF"/>
                </a:solidFill>
                <a:latin typeface="Trebuchet MS"/>
                <a:ea typeface="Meiryo UI"/>
                <a:cs typeface="Arial" pitchFamily="34" charset="0"/>
              </a:rPr>
              <a:t>技術基盤確立</a:t>
            </a:r>
          </a:p>
        </p:txBody>
      </p:sp>
      <p:sp>
        <p:nvSpPr>
          <p:cNvPr id="29" name="Rectangle 9"/>
          <p:cNvSpPr/>
          <p:nvPr/>
        </p:nvSpPr>
        <p:spPr>
          <a:xfrm>
            <a:off x="1043308" y="866274"/>
            <a:ext cx="3601374" cy="1276834"/>
          </a:xfrm>
          <a:prstGeom prst="rect">
            <a:avLst/>
          </a:prstGeom>
          <a:solidFill>
            <a:srgbClr val="A365D1"/>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vert="horz" wrap="none" tIns="90000" bIns="90000" rtlCol="0" anchor="ctr" anchorCtr="0"/>
          <a:lstStyle/>
          <a:p>
            <a:pPr>
              <a:defRPr/>
            </a:pPr>
            <a:r>
              <a:rPr lang="ja-JP" altLang="en-US" sz="2400" b="1" dirty="0">
                <a:solidFill>
                  <a:srgbClr val="FFFFFF"/>
                </a:solidFill>
                <a:latin typeface="Trebuchet MS"/>
                <a:ea typeface="Meiryo UI"/>
                <a:cs typeface="Arial" pitchFamily="34" charset="0"/>
              </a:rPr>
              <a:t>交通がつながる</a:t>
            </a:r>
            <a:endParaRPr lang="en-US" altLang="ja-JP" sz="2400" b="1" dirty="0">
              <a:solidFill>
                <a:srgbClr val="FFFFFF"/>
              </a:solidFill>
              <a:latin typeface="Trebuchet MS"/>
              <a:ea typeface="Meiryo UI"/>
              <a:cs typeface="Arial" pitchFamily="34" charset="0"/>
            </a:endParaRPr>
          </a:p>
          <a:p>
            <a:pPr>
              <a:defRPr/>
            </a:pPr>
            <a:r>
              <a:rPr lang="ja-JP" altLang="en-US" sz="1600" dirty="0">
                <a:solidFill>
                  <a:srgbClr val="FFFFFF"/>
                </a:solidFill>
                <a:latin typeface="Trebuchet MS"/>
                <a:ea typeface="Meiryo UI"/>
                <a:cs typeface="Arial" pitchFamily="34" charset="0"/>
              </a:rPr>
              <a:t>自分専用の移動手段の</a:t>
            </a:r>
            <a:endParaRPr lang="en-US" altLang="ja-JP" sz="1600" dirty="0">
              <a:solidFill>
                <a:srgbClr val="FFFFFF"/>
              </a:solidFill>
              <a:latin typeface="Trebuchet MS"/>
              <a:ea typeface="Meiryo UI"/>
              <a:cs typeface="Arial" pitchFamily="34" charset="0"/>
            </a:endParaRPr>
          </a:p>
          <a:p>
            <a:pPr>
              <a:defRPr/>
            </a:pPr>
            <a:r>
              <a:rPr lang="ja-JP" altLang="en-US" sz="1600" dirty="0">
                <a:solidFill>
                  <a:srgbClr val="FFFFFF"/>
                </a:solidFill>
                <a:latin typeface="Trebuchet MS"/>
                <a:ea typeface="Meiryo UI"/>
                <a:cs typeface="Arial" pitchFamily="34" charset="0"/>
              </a:rPr>
              <a:t>ように使える</a:t>
            </a:r>
            <a:endParaRPr lang="en-US" sz="1600" dirty="0">
              <a:solidFill>
                <a:srgbClr val="FFFFFF"/>
              </a:solidFill>
              <a:latin typeface="Trebuchet MS"/>
              <a:ea typeface="Meiryo UI"/>
              <a:cs typeface="Arial" pitchFamily="34" charset="0"/>
            </a:endParaRPr>
          </a:p>
        </p:txBody>
      </p:sp>
      <p:sp>
        <p:nvSpPr>
          <p:cNvPr id="31" name="Rectangle 9"/>
          <p:cNvSpPr/>
          <p:nvPr/>
        </p:nvSpPr>
        <p:spPr>
          <a:xfrm>
            <a:off x="4736377" y="866275"/>
            <a:ext cx="3901096" cy="382917"/>
          </a:xfrm>
          <a:prstGeom prst="rect">
            <a:avLst/>
          </a:prstGeom>
          <a:solidFill>
            <a:srgbClr val="2269B0"/>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216000" tIns="90000" bIns="90000" rtlCol="0" anchor="ctr" anchorCtr="0">
            <a:noAutofit/>
          </a:bodyPr>
          <a:lstStyle/>
          <a:p>
            <a:pPr>
              <a:defRPr/>
            </a:pPr>
            <a:r>
              <a:rPr lang="ja-JP" altLang="en-US" sz="1600" b="1" dirty="0">
                <a:solidFill>
                  <a:srgbClr val="FFFFFF"/>
                </a:solidFill>
                <a:latin typeface="Trebuchet MS"/>
                <a:ea typeface="Meiryo UI"/>
                <a:cs typeface="Arial" pitchFamily="34" charset="0"/>
              </a:rPr>
              <a:t>移動のパーソナル化・毛細化</a:t>
            </a:r>
            <a:endParaRPr lang="en-US" altLang="ja-JP" sz="1600" b="1" dirty="0">
              <a:solidFill>
                <a:srgbClr val="FFFFFF"/>
              </a:solidFill>
              <a:latin typeface="Trebuchet MS"/>
              <a:ea typeface="Meiryo UI"/>
              <a:cs typeface="Arial" pitchFamily="34" charset="0"/>
            </a:endParaRPr>
          </a:p>
        </p:txBody>
      </p:sp>
      <p:sp>
        <p:nvSpPr>
          <p:cNvPr id="38" name="Rectangle 9"/>
          <p:cNvSpPr/>
          <p:nvPr/>
        </p:nvSpPr>
        <p:spPr>
          <a:xfrm>
            <a:off x="4736377" y="1311417"/>
            <a:ext cx="3901096" cy="382917"/>
          </a:xfrm>
          <a:prstGeom prst="rect">
            <a:avLst/>
          </a:prstGeom>
          <a:solidFill>
            <a:srgbClr val="2269B0"/>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216000" tIns="90000" bIns="90000" rtlCol="0" anchor="ctr" anchorCtr="0">
            <a:noAutofit/>
          </a:bodyPr>
          <a:lstStyle/>
          <a:p>
            <a:pPr>
              <a:defRPr/>
            </a:pPr>
            <a:r>
              <a:rPr lang="ja-JP" altLang="en-US" sz="1600" b="1" dirty="0">
                <a:solidFill>
                  <a:srgbClr val="FFFFFF"/>
                </a:solidFill>
                <a:latin typeface="Trebuchet MS"/>
                <a:ea typeface="Meiryo UI"/>
                <a:cs typeface="Arial" pitchFamily="34" charset="0"/>
              </a:rPr>
              <a:t>統合された顧客接点</a:t>
            </a:r>
            <a:endParaRPr lang="en-US" altLang="ja-JP" sz="1600" b="1" dirty="0">
              <a:solidFill>
                <a:srgbClr val="FFFFFF"/>
              </a:solidFill>
              <a:latin typeface="Trebuchet MS"/>
              <a:ea typeface="Meiryo UI"/>
              <a:cs typeface="Arial" pitchFamily="34" charset="0"/>
            </a:endParaRPr>
          </a:p>
        </p:txBody>
      </p:sp>
      <p:sp>
        <p:nvSpPr>
          <p:cNvPr id="41" name="Rectangle 9"/>
          <p:cNvSpPr/>
          <p:nvPr/>
        </p:nvSpPr>
        <p:spPr>
          <a:xfrm>
            <a:off x="4736377" y="1756559"/>
            <a:ext cx="3901096" cy="382917"/>
          </a:xfrm>
          <a:prstGeom prst="rect">
            <a:avLst/>
          </a:prstGeom>
          <a:solidFill>
            <a:srgbClr val="2269B0"/>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216000" tIns="90000" bIns="90000" rtlCol="0" anchor="ctr" anchorCtr="0">
            <a:noAutofit/>
          </a:bodyPr>
          <a:lstStyle/>
          <a:p>
            <a:pPr>
              <a:defRPr/>
            </a:pPr>
            <a:r>
              <a:rPr lang="ja-JP" altLang="en-US" sz="1600" b="1" dirty="0">
                <a:solidFill>
                  <a:srgbClr val="FFFFFF"/>
                </a:solidFill>
                <a:latin typeface="Trebuchet MS"/>
                <a:ea typeface="Meiryo UI"/>
                <a:cs typeface="Arial" pitchFamily="34" charset="0"/>
              </a:rPr>
              <a:t>移動のストレスフリー化</a:t>
            </a:r>
            <a:endParaRPr lang="en-US" altLang="ja-JP" sz="1600" b="1" dirty="0">
              <a:solidFill>
                <a:srgbClr val="FFFFFF"/>
              </a:solidFill>
              <a:latin typeface="Trebuchet MS"/>
              <a:ea typeface="Meiryo UI"/>
              <a:cs typeface="Arial" pitchFamily="34" charset="0"/>
            </a:endParaRPr>
          </a:p>
        </p:txBody>
      </p:sp>
      <p:sp>
        <p:nvSpPr>
          <p:cNvPr id="56" name="Rectangle 9"/>
          <p:cNvSpPr/>
          <p:nvPr/>
        </p:nvSpPr>
        <p:spPr>
          <a:xfrm>
            <a:off x="1043308" y="2360777"/>
            <a:ext cx="3601374" cy="864000"/>
          </a:xfrm>
          <a:prstGeom prst="rect">
            <a:avLst/>
          </a:prstGeom>
          <a:solidFill>
            <a:srgbClr val="00B050"/>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vert="horz" wrap="none" tIns="90000" bIns="108000" rtlCol="0" anchor="ctr" anchorCtr="0"/>
          <a:lstStyle/>
          <a:p>
            <a:pPr>
              <a:defRPr/>
            </a:pPr>
            <a:r>
              <a:rPr lang="ja-JP" altLang="en-US" sz="2400" b="1" dirty="0">
                <a:solidFill>
                  <a:srgbClr val="FFFFFF"/>
                </a:solidFill>
                <a:latin typeface="Trebuchet MS"/>
                <a:ea typeface="Meiryo UI"/>
                <a:cs typeface="Arial" pitchFamily="34" charset="0"/>
              </a:rPr>
              <a:t>安全・安心がつながる</a:t>
            </a:r>
            <a:endParaRPr lang="en-US" altLang="ja-JP" sz="2400" b="1" dirty="0">
              <a:solidFill>
                <a:srgbClr val="FFFFFF"/>
              </a:solidFill>
              <a:latin typeface="Trebuchet MS"/>
              <a:ea typeface="Meiryo UI"/>
              <a:cs typeface="Arial" pitchFamily="34" charset="0"/>
            </a:endParaRPr>
          </a:p>
          <a:p>
            <a:pPr>
              <a:lnSpc>
                <a:spcPts val="1600"/>
              </a:lnSpc>
              <a:defRPr/>
            </a:pPr>
            <a:r>
              <a:rPr lang="ja-JP" altLang="en-US" sz="1600" dirty="0">
                <a:solidFill>
                  <a:srgbClr val="FFFFFF"/>
                </a:solidFill>
                <a:latin typeface="Trebuchet MS"/>
                <a:ea typeface="Meiryo UI"/>
                <a:cs typeface="Arial" pitchFamily="34" charset="0"/>
              </a:rPr>
              <a:t>世界一安全・安心・快適な</a:t>
            </a:r>
            <a:r>
              <a:rPr lang="en-US" altLang="ja-JP" sz="1600" dirty="0">
                <a:solidFill>
                  <a:srgbClr val="FFFFFF"/>
                </a:solidFill>
                <a:latin typeface="Trebuchet MS"/>
                <a:ea typeface="Meiryo UI"/>
                <a:cs typeface="Arial" pitchFamily="34" charset="0"/>
              </a:rPr>
              <a:t/>
            </a:r>
            <a:br>
              <a:rPr lang="en-US" altLang="ja-JP" sz="1600" dirty="0">
                <a:solidFill>
                  <a:srgbClr val="FFFFFF"/>
                </a:solidFill>
                <a:latin typeface="Trebuchet MS"/>
                <a:ea typeface="Meiryo UI"/>
                <a:cs typeface="Arial" pitchFamily="34" charset="0"/>
              </a:rPr>
            </a:br>
            <a:r>
              <a:rPr lang="ja-JP" altLang="en-US" sz="1600" dirty="0">
                <a:solidFill>
                  <a:srgbClr val="FFFFFF"/>
                </a:solidFill>
                <a:latin typeface="Trebuchet MS"/>
                <a:ea typeface="Meiryo UI"/>
                <a:cs typeface="Arial" pitchFamily="34" charset="0"/>
              </a:rPr>
              <a:t>移動手段</a:t>
            </a:r>
            <a:endParaRPr lang="en-US" sz="1600" dirty="0">
              <a:solidFill>
                <a:srgbClr val="FFFFFF"/>
              </a:solidFill>
              <a:latin typeface="Trebuchet MS"/>
              <a:ea typeface="Meiryo UI"/>
              <a:cs typeface="Arial" pitchFamily="34" charset="0"/>
            </a:endParaRPr>
          </a:p>
        </p:txBody>
      </p:sp>
      <p:sp>
        <p:nvSpPr>
          <p:cNvPr id="35" name="Rectangle 9"/>
          <p:cNvSpPr/>
          <p:nvPr/>
        </p:nvSpPr>
        <p:spPr>
          <a:xfrm>
            <a:off x="4736377" y="2360777"/>
            <a:ext cx="3901096" cy="396000"/>
          </a:xfrm>
          <a:prstGeom prst="rect">
            <a:avLst/>
          </a:prstGeom>
          <a:solidFill>
            <a:srgbClr val="2269B0"/>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16000" tIns="90000" bIns="90000" rtlCol="0" anchor="ctr" anchorCtr="0">
            <a:noAutofit/>
          </a:bodyPr>
          <a:lstStyle/>
          <a:p>
            <a:pPr>
              <a:defRPr/>
            </a:pPr>
            <a:r>
              <a:rPr lang="ja-JP" altLang="en-US" sz="1600" b="1" dirty="0">
                <a:solidFill>
                  <a:srgbClr val="FFFFFF"/>
                </a:solidFill>
                <a:latin typeface="Trebuchet MS"/>
                <a:ea typeface="Meiryo UI"/>
                <a:cs typeface="Arial" pitchFamily="34" charset="0"/>
              </a:rPr>
              <a:t>交通の自動化</a:t>
            </a:r>
            <a:r>
              <a:rPr lang="en-US" altLang="ja-JP" sz="1600" b="1" dirty="0">
                <a:solidFill>
                  <a:srgbClr val="FBFBFB"/>
                </a:solidFill>
                <a:latin typeface="Trebuchet MS"/>
                <a:ea typeface="Meiryo UI"/>
                <a:cs typeface="Arial" pitchFamily="34" charset="0"/>
              </a:rPr>
              <a:t>/</a:t>
            </a:r>
            <a:r>
              <a:rPr lang="ja-JP" altLang="en-US" sz="1600" b="1" dirty="0">
                <a:solidFill>
                  <a:srgbClr val="FBFBFB"/>
                </a:solidFill>
                <a:latin typeface="Trebuchet MS"/>
                <a:ea typeface="Meiryo UI"/>
                <a:cs typeface="Arial" pitchFamily="34" charset="0"/>
              </a:rPr>
              <a:t>事故防止</a:t>
            </a:r>
            <a:endParaRPr lang="en-US" altLang="ja-JP" sz="1600" b="1" dirty="0">
              <a:solidFill>
                <a:srgbClr val="FBFBFB"/>
              </a:solidFill>
              <a:latin typeface="Trebuchet MS"/>
              <a:ea typeface="Meiryo UI"/>
              <a:cs typeface="Arial" pitchFamily="34" charset="0"/>
            </a:endParaRPr>
          </a:p>
        </p:txBody>
      </p:sp>
      <p:sp>
        <p:nvSpPr>
          <p:cNvPr id="43" name="Rectangle 9"/>
          <p:cNvSpPr/>
          <p:nvPr/>
        </p:nvSpPr>
        <p:spPr>
          <a:xfrm>
            <a:off x="4736377" y="2828777"/>
            <a:ext cx="3901096" cy="396000"/>
          </a:xfrm>
          <a:prstGeom prst="rect">
            <a:avLst/>
          </a:prstGeom>
          <a:solidFill>
            <a:srgbClr val="2269B0"/>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16000" tIns="90000" bIns="90000" rtlCol="0" anchor="ctr" anchorCtr="0">
            <a:noAutofit/>
          </a:bodyPr>
          <a:lstStyle/>
          <a:p>
            <a:pPr>
              <a:defRPr/>
            </a:pPr>
            <a:r>
              <a:rPr lang="ja-JP" altLang="en-US" sz="1600" b="1" dirty="0">
                <a:solidFill>
                  <a:srgbClr val="FFFFFF"/>
                </a:solidFill>
                <a:latin typeface="Trebuchet MS"/>
                <a:ea typeface="Meiryo UI"/>
                <a:cs typeface="Arial" pitchFamily="34" charset="0"/>
              </a:rPr>
              <a:t>大規模災害対策</a:t>
            </a:r>
            <a:r>
              <a:rPr lang="en-US" altLang="ja-JP" sz="1600" b="1" dirty="0">
                <a:solidFill>
                  <a:srgbClr val="FFFFFF"/>
                </a:solidFill>
                <a:latin typeface="Trebuchet MS"/>
                <a:ea typeface="Meiryo UI"/>
                <a:cs typeface="Arial" pitchFamily="34" charset="0"/>
              </a:rPr>
              <a:t>/</a:t>
            </a:r>
            <a:r>
              <a:rPr lang="ja-JP" altLang="en-US" sz="1600" b="1" dirty="0">
                <a:solidFill>
                  <a:srgbClr val="FFFFFF"/>
                </a:solidFill>
                <a:latin typeface="Trebuchet MS"/>
                <a:ea typeface="Meiryo UI"/>
                <a:cs typeface="Arial" pitchFamily="34" charset="0"/>
              </a:rPr>
              <a:t>セキュリティ強化</a:t>
            </a:r>
            <a:endParaRPr lang="en-US" altLang="ja-JP" sz="1600" b="1" dirty="0">
              <a:solidFill>
                <a:srgbClr val="FFFFFF"/>
              </a:solidFill>
              <a:latin typeface="Trebuchet MS"/>
              <a:ea typeface="Meiryo UI"/>
              <a:cs typeface="Arial" pitchFamily="34" charset="0"/>
            </a:endParaRPr>
          </a:p>
        </p:txBody>
      </p:sp>
      <p:sp>
        <p:nvSpPr>
          <p:cNvPr id="33" name="ee4pHeader1"/>
          <p:cNvSpPr txBox="1"/>
          <p:nvPr/>
        </p:nvSpPr>
        <p:spPr>
          <a:xfrm>
            <a:off x="8746867" y="866275"/>
            <a:ext cx="2650024" cy="382917"/>
          </a:xfrm>
          <a:prstGeom prst="rect">
            <a:avLst/>
          </a:prstGeom>
          <a:solidFill>
            <a:schemeClr val="bg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noAutofit/>
          </a:bodyPr>
          <a:lstStyle>
            <a:defPPr>
              <a:defRPr lang="en-US"/>
            </a:defPPr>
            <a:lvl1pPr>
              <a:defRPr kumimoji="1" sz="1200">
                <a:solidFill>
                  <a:schemeClr val="bg1"/>
                </a:solidFill>
                <a:cs typeface="Arial"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3">
              <a:defRPr/>
            </a:pPr>
            <a:r>
              <a:rPr kumimoji="0" lang="ja-JP" altLang="en-US" sz="1200" dirty="0">
                <a:solidFill>
                  <a:srgbClr val="000000"/>
                </a:solidFill>
                <a:latin typeface="Trebuchet MS"/>
                <a:ea typeface="Meiryo UI"/>
              </a:rPr>
              <a:t>オンデマンドバス、相乗りタクシー</a:t>
            </a:r>
            <a:r>
              <a:rPr kumimoji="0" lang="en-US" altLang="ja-JP" sz="1200" dirty="0">
                <a:solidFill>
                  <a:srgbClr val="000000"/>
                </a:solidFill>
                <a:latin typeface="Trebuchet MS"/>
                <a:ea typeface="Meiryo UI"/>
              </a:rPr>
              <a:t/>
            </a:r>
            <a:br>
              <a:rPr kumimoji="0" lang="en-US" altLang="ja-JP" sz="1200" dirty="0">
                <a:solidFill>
                  <a:srgbClr val="000000"/>
                </a:solidFill>
                <a:latin typeface="Trebuchet MS"/>
                <a:ea typeface="Meiryo UI"/>
              </a:rPr>
            </a:br>
            <a:r>
              <a:rPr kumimoji="0" lang="ja-JP" altLang="en-US" sz="1200" dirty="0" smtClean="0">
                <a:solidFill>
                  <a:srgbClr val="000000"/>
                </a:solidFill>
                <a:latin typeface="Trebuchet MS"/>
                <a:ea typeface="Meiryo UI"/>
              </a:rPr>
              <a:t>シェアサイクル、</a:t>
            </a:r>
            <a:r>
              <a:rPr kumimoji="0" lang="ja-JP" altLang="en-US" sz="1200" dirty="0">
                <a:solidFill>
                  <a:srgbClr val="000000"/>
                </a:solidFill>
                <a:latin typeface="Trebuchet MS"/>
                <a:ea typeface="Meiryo UI"/>
              </a:rPr>
              <a:t>小型</a:t>
            </a:r>
            <a:r>
              <a:rPr kumimoji="0" lang="ja-JP" altLang="en-US" sz="1200" dirty="0" smtClean="0">
                <a:solidFill>
                  <a:srgbClr val="000000"/>
                </a:solidFill>
                <a:latin typeface="Trebuchet MS"/>
                <a:ea typeface="Meiryo UI"/>
              </a:rPr>
              <a:t>低速モビリティ</a:t>
            </a:r>
            <a:endParaRPr kumimoji="0" lang="ja-JP" altLang="en-US" sz="1200" dirty="0">
              <a:solidFill>
                <a:srgbClr val="000000"/>
              </a:solidFill>
              <a:latin typeface="Trebuchet MS"/>
              <a:ea typeface="Meiryo UI"/>
            </a:endParaRPr>
          </a:p>
        </p:txBody>
      </p:sp>
      <p:sp>
        <p:nvSpPr>
          <p:cNvPr id="39" name="ee4pHeader1"/>
          <p:cNvSpPr txBox="1"/>
          <p:nvPr/>
        </p:nvSpPr>
        <p:spPr>
          <a:xfrm>
            <a:off x="8746867" y="1311417"/>
            <a:ext cx="2650024" cy="382917"/>
          </a:xfrm>
          <a:prstGeom prst="rect">
            <a:avLst/>
          </a:prstGeom>
          <a:solidFill>
            <a:schemeClr val="bg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noAutofit/>
          </a:bodyPr>
          <a:lstStyle>
            <a:defPPr>
              <a:defRPr lang="en-US"/>
            </a:defPPr>
            <a:lvl1pPr>
              <a:defRPr kumimoji="1" sz="1200">
                <a:solidFill>
                  <a:schemeClr val="bg1"/>
                </a:solidFill>
                <a:cs typeface="Arial"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3">
              <a:defRPr/>
            </a:pPr>
            <a:r>
              <a:rPr kumimoji="0" lang="en-US" altLang="ja-JP" sz="1200" dirty="0">
                <a:solidFill>
                  <a:srgbClr val="000000"/>
                </a:solidFill>
                <a:latin typeface="Trebuchet MS"/>
                <a:ea typeface="Meiryo UI"/>
              </a:rPr>
              <a:t>MaaS</a:t>
            </a:r>
            <a:r>
              <a:rPr kumimoji="0" lang="ja-JP" altLang="en-US" sz="1200" dirty="0">
                <a:solidFill>
                  <a:srgbClr val="000000"/>
                </a:solidFill>
                <a:latin typeface="Trebuchet MS"/>
                <a:ea typeface="Meiryo UI"/>
              </a:rPr>
              <a:t>アプリ、乗継スポット</a:t>
            </a:r>
            <a:r>
              <a:rPr kumimoji="0" lang="en-US" altLang="ja-JP" sz="1200" baseline="30000" dirty="0">
                <a:solidFill>
                  <a:srgbClr val="000000"/>
                </a:solidFill>
                <a:latin typeface="Trebuchet MS"/>
                <a:ea typeface="Meiryo UI"/>
              </a:rPr>
              <a:t>1</a:t>
            </a:r>
            <a:r>
              <a:rPr kumimoji="0" lang="en-US" altLang="ja-JP" sz="1200" dirty="0">
                <a:solidFill>
                  <a:srgbClr val="000000"/>
                </a:solidFill>
                <a:latin typeface="Trebuchet MS"/>
                <a:ea typeface="Meiryo UI"/>
              </a:rPr>
              <a:t> </a:t>
            </a:r>
            <a:endParaRPr kumimoji="0" lang="ja-JP" altLang="en-US" sz="1200" dirty="0">
              <a:solidFill>
                <a:srgbClr val="000000"/>
              </a:solidFill>
              <a:latin typeface="Trebuchet MS"/>
              <a:ea typeface="Meiryo UI"/>
            </a:endParaRPr>
          </a:p>
        </p:txBody>
      </p:sp>
      <p:sp>
        <p:nvSpPr>
          <p:cNvPr id="42" name="ee4pHeader1"/>
          <p:cNvSpPr txBox="1"/>
          <p:nvPr/>
        </p:nvSpPr>
        <p:spPr>
          <a:xfrm>
            <a:off x="8746867" y="1756559"/>
            <a:ext cx="2650024" cy="382917"/>
          </a:xfrm>
          <a:prstGeom prst="rect">
            <a:avLst/>
          </a:prstGeom>
          <a:solidFill>
            <a:schemeClr val="bg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noAutofit/>
          </a:bodyPr>
          <a:lstStyle>
            <a:defPPr>
              <a:defRPr lang="en-US"/>
            </a:defPPr>
            <a:lvl1pPr>
              <a:defRPr kumimoji="1" sz="1200">
                <a:solidFill>
                  <a:schemeClr val="bg1"/>
                </a:solidFill>
                <a:cs typeface="Arial"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3">
              <a:defRPr/>
            </a:pPr>
            <a:r>
              <a:rPr kumimoji="0" lang="ja-JP" altLang="en-US" sz="1200" dirty="0">
                <a:solidFill>
                  <a:srgbClr val="000000"/>
                </a:solidFill>
                <a:latin typeface="Trebuchet MS"/>
                <a:ea typeface="Meiryo UI"/>
              </a:rPr>
              <a:t>顔パス</a:t>
            </a:r>
            <a:r>
              <a:rPr kumimoji="0" lang="ja-JP" altLang="en-US" sz="1200" dirty="0" smtClean="0">
                <a:solidFill>
                  <a:srgbClr val="000000"/>
                </a:solidFill>
                <a:latin typeface="Trebuchet MS"/>
                <a:ea typeface="Meiryo UI"/>
              </a:rPr>
              <a:t>、バリアフリー混雑</a:t>
            </a:r>
            <a:r>
              <a:rPr kumimoji="0" lang="ja-JP" altLang="en-US" sz="1200" dirty="0">
                <a:solidFill>
                  <a:srgbClr val="000000"/>
                </a:solidFill>
                <a:latin typeface="Trebuchet MS"/>
                <a:ea typeface="Meiryo UI"/>
              </a:rPr>
              <a:t>情報</a:t>
            </a:r>
            <a:r>
              <a:rPr kumimoji="0" lang="ja-JP" altLang="en-US" sz="1200" dirty="0" smtClean="0">
                <a:solidFill>
                  <a:srgbClr val="000000"/>
                </a:solidFill>
                <a:latin typeface="Trebuchet MS"/>
                <a:ea typeface="Meiryo UI"/>
              </a:rPr>
              <a:t>、</a:t>
            </a:r>
            <a:endParaRPr kumimoji="0" lang="en-US" altLang="ja-JP" sz="1200" dirty="0" smtClean="0">
              <a:solidFill>
                <a:srgbClr val="000000"/>
              </a:solidFill>
              <a:latin typeface="Trebuchet MS"/>
              <a:ea typeface="Meiryo UI"/>
            </a:endParaRPr>
          </a:p>
          <a:p>
            <a:pPr marL="0" lvl="3">
              <a:defRPr/>
            </a:pPr>
            <a:r>
              <a:rPr kumimoji="0" lang="ja-JP" altLang="en-US" sz="1200" dirty="0" smtClean="0">
                <a:solidFill>
                  <a:srgbClr val="000000"/>
                </a:solidFill>
                <a:latin typeface="Trebuchet MS"/>
                <a:ea typeface="Meiryo UI"/>
              </a:rPr>
              <a:t>見守り</a:t>
            </a:r>
            <a:r>
              <a:rPr kumimoji="0" lang="ja-JP" altLang="en-US" sz="1200" dirty="0">
                <a:solidFill>
                  <a:srgbClr val="000000"/>
                </a:solidFill>
                <a:latin typeface="Trebuchet MS"/>
                <a:ea typeface="Meiryo UI"/>
              </a:rPr>
              <a:t>　等</a:t>
            </a:r>
          </a:p>
        </p:txBody>
      </p:sp>
      <p:sp>
        <p:nvSpPr>
          <p:cNvPr id="36" name="ee4pHeader1"/>
          <p:cNvSpPr txBox="1"/>
          <p:nvPr/>
        </p:nvSpPr>
        <p:spPr>
          <a:xfrm>
            <a:off x="8746867" y="2365854"/>
            <a:ext cx="2650024" cy="396000"/>
          </a:xfrm>
          <a:prstGeom prst="rect">
            <a:avLst/>
          </a:prstGeom>
          <a:solidFill>
            <a:schemeClr val="bg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noAutofit/>
          </a:bodyPr>
          <a:lstStyle>
            <a:defPPr>
              <a:defRPr lang="en-US"/>
            </a:defPPr>
            <a:lvl1pPr>
              <a:defRPr kumimoji="1" sz="1200">
                <a:solidFill>
                  <a:schemeClr val="bg1"/>
                </a:solidFill>
                <a:cs typeface="Arial"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3">
              <a:defRPr/>
            </a:pPr>
            <a:r>
              <a:rPr kumimoji="0" lang="ja-JP" altLang="en-US" sz="1200" dirty="0">
                <a:solidFill>
                  <a:srgbClr val="000000"/>
                </a:solidFill>
                <a:latin typeface="Trebuchet MS"/>
                <a:ea typeface="Meiryo UI"/>
              </a:rPr>
              <a:t>鉄道・バス・タクシーの</a:t>
            </a:r>
            <a:r>
              <a:rPr kumimoji="0" lang="en-US" altLang="ja-JP" sz="1200" dirty="0">
                <a:solidFill>
                  <a:srgbClr val="000000"/>
                </a:solidFill>
                <a:latin typeface="Trebuchet MS"/>
                <a:ea typeface="Meiryo UI"/>
              </a:rPr>
              <a:t/>
            </a:r>
            <a:br>
              <a:rPr kumimoji="0" lang="en-US" altLang="ja-JP" sz="1200" dirty="0">
                <a:solidFill>
                  <a:srgbClr val="000000"/>
                </a:solidFill>
                <a:latin typeface="Trebuchet MS"/>
                <a:ea typeface="Meiryo UI"/>
              </a:rPr>
            </a:br>
            <a:r>
              <a:rPr kumimoji="0" lang="ja-JP" altLang="en-US" sz="1200" dirty="0">
                <a:solidFill>
                  <a:srgbClr val="000000"/>
                </a:solidFill>
                <a:latin typeface="Trebuchet MS"/>
                <a:ea typeface="Meiryo UI"/>
              </a:rPr>
              <a:t>自動運転、遠隔操作</a:t>
            </a:r>
          </a:p>
        </p:txBody>
      </p:sp>
      <p:sp>
        <p:nvSpPr>
          <p:cNvPr id="46" name="ee4pHeader1"/>
          <p:cNvSpPr txBox="1"/>
          <p:nvPr/>
        </p:nvSpPr>
        <p:spPr>
          <a:xfrm>
            <a:off x="8746867" y="2828777"/>
            <a:ext cx="2650024" cy="396000"/>
          </a:xfrm>
          <a:prstGeom prst="rect">
            <a:avLst/>
          </a:prstGeom>
          <a:solidFill>
            <a:schemeClr val="bg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noAutofit/>
          </a:bodyPr>
          <a:lstStyle>
            <a:defPPr>
              <a:defRPr lang="en-US"/>
            </a:defPPr>
            <a:lvl1pPr>
              <a:defRPr kumimoji="1" sz="1200">
                <a:solidFill>
                  <a:schemeClr val="bg1"/>
                </a:solidFill>
                <a:cs typeface="Arial"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3">
              <a:defRPr/>
            </a:pPr>
            <a:r>
              <a:rPr kumimoji="0" lang="ja-JP" altLang="en-US" sz="1200" dirty="0">
                <a:solidFill>
                  <a:srgbClr val="000000"/>
                </a:solidFill>
                <a:latin typeface="Trebuchet MS"/>
                <a:ea typeface="Meiryo UI"/>
              </a:rPr>
              <a:t>設備の堅牢化・浸水対策</a:t>
            </a:r>
            <a:r>
              <a:rPr kumimoji="0" lang="en-US" altLang="ja-JP" sz="1200" dirty="0">
                <a:solidFill>
                  <a:srgbClr val="000000"/>
                </a:solidFill>
                <a:latin typeface="Trebuchet MS"/>
                <a:ea typeface="Meiryo UI"/>
              </a:rPr>
              <a:t/>
            </a:r>
            <a:br>
              <a:rPr kumimoji="0" lang="en-US" altLang="ja-JP" sz="1200" dirty="0">
                <a:solidFill>
                  <a:srgbClr val="000000"/>
                </a:solidFill>
                <a:latin typeface="Trebuchet MS"/>
                <a:ea typeface="Meiryo UI"/>
              </a:rPr>
            </a:br>
            <a:r>
              <a:rPr kumimoji="0" lang="ja-JP" altLang="en-US" sz="1200" dirty="0">
                <a:solidFill>
                  <a:srgbClr val="000000"/>
                </a:solidFill>
                <a:latin typeface="Trebuchet MS"/>
                <a:ea typeface="Meiryo UI"/>
              </a:rPr>
              <a:t>テロ</a:t>
            </a:r>
            <a:r>
              <a:rPr kumimoji="0" lang="en-US" altLang="ja-JP" sz="1200" dirty="0">
                <a:solidFill>
                  <a:srgbClr val="000000"/>
                </a:solidFill>
                <a:latin typeface="Trebuchet MS"/>
                <a:ea typeface="Meiryo UI"/>
              </a:rPr>
              <a:t>/</a:t>
            </a:r>
            <a:r>
              <a:rPr kumimoji="0" lang="ja-JP" altLang="en-US" sz="1200" dirty="0">
                <a:solidFill>
                  <a:srgbClr val="000000"/>
                </a:solidFill>
                <a:latin typeface="Trebuchet MS"/>
                <a:ea typeface="Meiryo UI"/>
              </a:rPr>
              <a:t>犯罪対策</a:t>
            </a:r>
          </a:p>
        </p:txBody>
      </p:sp>
      <p:sp>
        <p:nvSpPr>
          <p:cNvPr id="57" name="Rectangle 9"/>
          <p:cNvSpPr/>
          <p:nvPr/>
        </p:nvSpPr>
        <p:spPr>
          <a:xfrm>
            <a:off x="1043308" y="3416081"/>
            <a:ext cx="3601374" cy="1263869"/>
          </a:xfrm>
          <a:prstGeom prst="rect">
            <a:avLst/>
          </a:prstGeom>
          <a:solidFill>
            <a:schemeClr val="accent2"/>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vert="horz" wrap="none" tIns="90000" bIns="90000" rtlCol="0" anchor="ctr" anchorCtr="0"/>
          <a:lstStyle/>
          <a:p>
            <a:pPr>
              <a:tabLst>
                <a:tab pos="355600" algn="l"/>
              </a:tabLst>
              <a:defRPr/>
            </a:pPr>
            <a:r>
              <a:rPr lang="ja-JP" altLang="en-US" sz="2400" b="1" dirty="0">
                <a:solidFill>
                  <a:srgbClr val="FFFFFF"/>
                </a:solidFill>
                <a:latin typeface="Trebuchet MS"/>
                <a:ea typeface="Meiryo UI"/>
                <a:cs typeface="Arial" pitchFamily="34" charset="0"/>
              </a:rPr>
              <a:t>情報がつながる</a:t>
            </a:r>
            <a:endParaRPr lang="en-US" altLang="ja-JP" sz="2400" b="1" dirty="0">
              <a:solidFill>
                <a:srgbClr val="FFFFFF"/>
              </a:solidFill>
              <a:latin typeface="Trebuchet MS"/>
              <a:ea typeface="Meiryo UI"/>
              <a:cs typeface="Arial" pitchFamily="34" charset="0"/>
            </a:endParaRPr>
          </a:p>
          <a:p>
            <a:pPr>
              <a:tabLst>
                <a:tab pos="355600" algn="l"/>
              </a:tabLst>
              <a:defRPr/>
            </a:pPr>
            <a:r>
              <a:rPr lang="ja-JP" altLang="en-US" sz="1600" dirty="0">
                <a:solidFill>
                  <a:srgbClr val="FFFFFF"/>
                </a:solidFill>
                <a:latin typeface="Trebuchet MS"/>
                <a:ea typeface="Meiryo UI"/>
                <a:cs typeface="Arial" pitchFamily="34" charset="0"/>
              </a:rPr>
              <a:t>つながる程、便利に楽しくなる</a:t>
            </a:r>
            <a:endParaRPr lang="en-US" sz="1600" dirty="0">
              <a:solidFill>
                <a:srgbClr val="FFFFFF"/>
              </a:solidFill>
              <a:latin typeface="Trebuchet MS"/>
              <a:ea typeface="Meiryo UI"/>
              <a:cs typeface="Arial" pitchFamily="34" charset="0"/>
            </a:endParaRPr>
          </a:p>
        </p:txBody>
      </p:sp>
      <p:sp>
        <p:nvSpPr>
          <p:cNvPr id="37" name="Rectangle 9"/>
          <p:cNvSpPr/>
          <p:nvPr/>
        </p:nvSpPr>
        <p:spPr>
          <a:xfrm>
            <a:off x="4736377" y="3413140"/>
            <a:ext cx="3901096" cy="382917"/>
          </a:xfrm>
          <a:prstGeom prst="rect">
            <a:avLst/>
          </a:prstGeom>
          <a:solidFill>
            <a:srgbClr val="2269B0"/>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16000" tIns="90000" bIns="90000" rtlCol="0" anchor="ctr" anchorCtr="0">
            <a:noAutofit/>
          </a:bodyPr>
          <a:lstStyle/>
          <a:p>
            <a:pPr>
              <a:defRPr/>
            </a:pPr>
            <a:r>
              <a:rPr lang="ja-JP" altLang="en-US" sz="1600" b="1" dirty="0">
                <a:solidFill>
                  <a:srgbClr val="FFFFFF"/>
                </a:solidFill>
                <a:latin typeface="Trebuchet MS"/>
                <a:ea typeface="Meiryo UI"/>
                <a:cs typeface="Arial" pitchFamily="34" charset="0"/>
              </a:rPr>
              <a:t>駅・地下街を街</a:t>
            </a:r>
            <a:r>
              <a:rPr lang="en-US" altLang="ja-JP" sz="1600" b="1" dirty="0">
                <a:solidFill>
                  <a:srgbClr val="FFFFFF"/>
                </a:solidFill>
                <a:latin typeface="Trebuchet MS"/>
                <a:ea typeface="Meiryo UI"/>
                <a:cs typeface="Arial" pitchFamily="34" charset="0"/>
              </a:rPr>
              <a:t>/</a:t>
            </a:r>
            <a:r>
              <a:rPr lang="ja-JP" altLang="en-US" sz="1600" b="1" dirty="0">
                <a:solidFill>
                  <a:srgbClr val="FFFFFF"/>
                </a:solidFill>
                <a:latin typeface="Trebuchet MS"/>
                <a:ea typeface="Meiryo UI"/>
                <a:cs typeface="Arial" pitchFamily="34" charset="0"/>
              </a:rPr>
              <a:t>居場所にする</a:t>
            </a:r>
          </a:p>
        </p:txBody>
      </p:sp>
      <p:sp>
        <p:nvSpPr>
          <p:cNvPr id="40" name="ee4pHeader1"/>
          <p:cNvSpPr txBox="1"/>
          <p:nvPr/>
        </p:nvSpPr>
        <p:spPr>
          <a:xfrm>
            <a:off x="8746867" y="3413140"/>
            <a:ext cx="2650024" cy="382917"/>
          </a:xfrm>
          <a:prstGeom prst="rect">
            <a:avLst/>
          </a:prstGeom>
          <a:solidFill>
            <a:schemeClr val="bg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noAutofit/>
          </a:bodyPr>
          <a:lstStyle>
            <a:defPPr>
              <a:defRPr lang="en-US"/>
            </a:defPPr>
            <a:lvl1pPr>
              <a:defRPr kumimoji="1" sz="1200">
                <a:solidFill>
                  <a:schemeClr val="bg1"/>
                </a:solidFill>
                <a:cs typeface="Arial"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3">
              <a:defRPr/>
            </a:pPr>
            <a:r>
              <a:rPr kumimoji="0" lang="ja-JP" altLang="en-US" sz="1200" dirty="0">
                <a:solidFill>
                  <a:srgbClr val="000000"/>
                </a:solidFill>
                <a:latin typeface="Trebuchet MS"/>
                <a:ea typeface="Meiryo UI"/>
              </a:rPr>
              <a:t>駅、地下街</a:t>
            </a:r>
          </a:p>
        </p:txBody>
      </p:sp>
      <p:sp>
        <p:nvSpPr>
          <p:cNvPr id="44" name="Rectangle 9"/>
          <p:cNvSpPr/>
          <p:nvPr/>
        </p:nvSpPr>
        <p:spPr>
          <a:xfrm>
            <a:off x="4736377" y="3858283"/>
            <a:ext cx="3901096" cy="382917"/>
          </a:xfrm>
          <a:prstGeom prst="rect">
            <a:avLst/>
          </a:prstGeom>
          <a:solidFill>
            <a:srgbClr val="2269B0"/>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16000" tIns="90000" bIns="90000" rtlCol="0" anchor="ctr" anchorCtr="0">
            <a:noAutofit/>
          </a:bodyPr>
          <a:lstStyle/>
          <a:p>
            <a:pPr>
              <a:defRPr/>
            </a:pPr>
            <a:r>
              <a:rPr lang="ja-JP" altLang="en-US" sz="1600" b="1" dirty="0">
                <a:solidFill>
                  <a:srgbClr val="FFFFFF"/>
                </a:solidFill>
                <a:latin typeface="Trebuchet MS"/>
                <a:ea typeface="Meiryo UI"/>
                <a:cs typeface="Arial" pitchFamily="34" charset="0"/>
              </a:rPr>
              <a:t>日常・非常時の生活サービス連携</a:t>
            </a:r>
            <a:endParaRPr lang="en-US" altLang="ja-JP" sz="1600" b="1" dirty="0">
              <a:solidFill>
                <a:srgbClr val="FFFFFF"/>
              </a:solidFill>
              <a:latin typeface="Trebuchet MS"/>
              <a:ea typeface="Meiryo UI"/>
              <a:cs typeface="Arial" pitchFamily="34" charset="0"/>
            </a:endParaRPr>
          </a:p>
        </p:txBody>
      </p:sp>
      <p:sp>
        <p:nvSpPr>
          <p:cNvPr id="45" name="ee4pHeader1"/>
          <p:cNvSpPr txBox="1"/>
          <p:nvPr/>
        </p:nvSpPr>
        <p:spPr>
          <a:xfrm>
            <a:off x="8746867" y="3858283"/>
            <a:ext cx="2650024" cy="382917"/>
          </a:xfrm>
          <a:prstGeom prst="rect">
            <a:avLst/>
          </a:prstGeom>
          <a:solidFill>
            <a:schemeClr val="bg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noAutofit/>
          </a:bodyPr>
          <a:lstStyle>
            <a:defPPr>
              <a:defRPr lang="en-US"/>
            </a:defPPr>
            <a:lvl1pPr>
              <a:defRPr kumimoji="1" sz="1200">
                <a:solidFill>
                  <a:schemeClr val="bg1"/>
                </a:solidFill>
                <a:cs typeface="Arial"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3">
              <a:defRPr/>
            </a:pPr>
            <a:r>
              <a:rPr kumimoji="0" lang="ja-JP" altLang="en-US" sz="1200" dirty="0">
                <a:solidFill>
                  <a:srgbClr val="000000"/>
                </a:solidFill>
                <a:latin typeface="Trebuchet MS"/>
                <a:ea typeface="Meiryo UI"/>
              </a:rPr>
              <a:t>行政、医療、物流</a:t>
            </a:r>
            <a:r>
              <a:rPr kumimoji="0" lang="en-US" altLang="ja-JP" sz="1200" dirty="0">
                <a:solidFill>
                  <a:srgbClr val="000000"/>
                </a:solidFill>
                <a:latin typeface="Trebuchet MS"/>
                <a:ea typeface="Meiryo UI"/>
              </a:rPr>
              <a:t/>
            </a:r>
            <a:br>
              <a:rPr kumimoji="0" lang="en-US" altLang="ja-JP" sz="1200" dirty="0">
                <a:solidFill>
                  <a:srgbClr val="000000"/>
                </a:solidFill>
                <a:latin typeface="Trebuchet MS"/>
                <a:ea typeface="Meiryo UI"/>
              </a:rPr>
            </a:br>
            <a:r>
              <a:rPr kumimoji="0" lang="ja-JP" altLang="en-US" sz="1200" dirty="0">
                <a:solidFill>
                  <a:srgbClr val="000000"/>
                </a:solidFill>
                <a:latin typeface="Trebuchet MS"/>
                <a:ea typeface="Meiryo UI"/>
              </a:rPr>
              <a:t>災害時情報連携　等</a:t>
            </a:r>
            <a:endParaRPr kumimoji="0" lang="en-US" altLang="ja-JP" sz="1200" dirty="0">
              <a:solidFill>
                <a:srgbClr val="000000"/>
              </a:solidFill>
              <a:latin typeface="Trebuchet MS"/>
              <a:ea typeface="Meiryo UI"/>
            </a:endParaRPr>
          </a:p>
        </p:txBody>
      </p:sp>
      <p:sp>
        <p:nvSpPr>
          <p:cNvPr id="47" name="Rectangle 9"/>
          <p:cNvSpPr/>
          <p:nvPr/>
        </p:nvSpPr>
        <p:spPr>
          <a:xfrm>
            <a:off x="4736377" y="4297033"/>
            <a:ext cx="3901096" cy="382917"/>
          </a:xfrm>
          <a:prstGeom prst="rect">
            <a:avLst/>
          </a:prstGeom>
          <a:solidFill>
            <a:srgbClr val="2269B0"/>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16000" tIns="90000" bIns="90000" rtlCol="0" anchor="ctr" anchorCtr="0">
            <a:noAutofit/>
          </a:bodyPr>
          <a:lstStyle/>
          <a:p>
            <a:pPr>
              <a:defRPr/>
            </a:pPr>
            <a:r>
              <a:rPr lang="ja-JP" altLang="en-US" sz="1600" b="1" dirty="0">
                <a:solidFill>
                  <a:srgbClr val="FFFFFF"/>
                </a:solidFill>
                <a:latin typeface="Trebuchet MS"/>
                <a:ea typeface="Meiryo UI"/>
                <a:cs typeface="Arial" pitchFamily="34" charset="0"/>
              </a:rPr>
              <a:t>移動の提案化</a:t>
            </a:r>
            <a:r>
              <a:rPr lang="en-US" altLang="ja-JP" sz="1600" b="1" dirty="0">
                <a:solidFill>
                  <a:srgbClr val="FFFFFF"/>
                </a:solidFill>
                <a:latin typeface="Trebuchet MS"/>
                <a:ea typeface="Meiryo UI"/>
                <a:cs typeface="Arial" pitchFamily="34" charset="0"/>
              </a:rPr>
              <a:t>/</a:t>
            </a:r>
            <a:r>
              <a:rPr lang="ja-JP" altLang="en-US" sz="1600" b="1" dirty="0">
                <a:solidFill>
                  <a:srgbClr val="FFFFFF"/>
                </a:solidFill>
                <a:latin typeface="Trebuchet MS"/>
                <a:ea typeface="Meiryo UI"/>
                <a:cs typeface="Arial" pitchFamily="34" charset="0"/>
              </a:rPr>
              <a:t>サービス化</a:t>
            </a:r>
            <a:endParaRPr lang="en-US" altLang="ja-JP" sz="1600" b="1" dirty="0">
              <a:solidFill>
                <a:srgbClr val="FFFFFF"/>
              </a:solidFill>
              <a:latin typeface="Trebuchet MS"/>
              <a:ea typeface="Meiryo UI"/>
              <a:cs typeface="Arial" pitchFamily="34" charset="0"/>
            </a:endParaRPr>
          </a:p>
        </p:txBody>
      </p:sp>
      <p:sp>
        <p:nvSpPr>
          <p:cNvPr id="48" name="ee4pHeader1"/>
          <p:cNvSpPr txBox="1"/>
          <p:nvPr/>
        </p:nvSpPr>
        <p:spPr>
          <a:xfrm>
            <a:off x="8746867" y="4297033"/>
            <a:ext cx="2650024" cy="382917"/>
          </a:xfrm>
          <a:prstGeom prst="rect">
            <a:avLst/>
          </a:prstGeom>
          <a:solidFill>
            <a:schemeClr val="bg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noAutofit/>
          </a:bodyPr>
          <a:lstStyle>
            <a:defPPr>
              <a:defRPr lang="en-US"/>
            </a:defPPr>
            <a:lvl1pPr>
              <a:defRPr kumimoji="1" sz="1200">
                <a:solidFill>
                  <a:schemeClr val="bg1"/>
                </a:solidFill>
                <a:cs typeface="Arial"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3">
              <a:defRPr/>
            </a:pPr>
            <a:r>
              <a:rPr kumimoji="0" lang="ja-JP" altLang="en-US" sz="1200" dirty="0">
                <a:solidFill>
                  <a:srgbClr val="000000"/>
                </a:solidFill>
                <a:latin typeface="Trebuchet MS"/>
                <a:ea typeface="Meiryo UI"/>
              </a:rPr>
              <a:t>リコメンド</a:t>
            </a:r>
            <a:r>
              <a:rPr kumimoji="0" lang="en-US" altLang="ja-JP" sz="1200" dirty="0">
                <a:solidFill>
                  <a:srgbClr val="000000"/>
                </a:solidFill>
                <a:latin typeface="Trebuchet MS"/>
                <a:ea typeface="Meiryo UI"/>
              </a:rPr>
              <a:t>(</a:t>
            </a:r>
            <a:r>
              <a:rPr kumimoji="0" lang="ja-JP" altLang="en-US" sz="1200" dirty="0">
                <a:solidFill>
                  <a:srgbClr val="000000"/>
                </a:solidFill>
                <a:latin typeface="Trebuchet MS"/>
                <a:ea typeface="Meiryo UI"/>
              </a:rPr>
              <a:t>観光等</a:t>
            </a:r>
            <a:r>
              <a:rPr kumimoji="0" lang="en-US" altLang="ja-JP" sz="1200" dirty="0">
                <a:solidFill>
                  <a:srgbClr val="000000"/>
                </a:solidFill>
                <a:latin typeface="Trebuchet MS"/>
                <a:ea typeface="Meiryo UI"/>
              </a:rPr>
              <a:t>)</a:t>
            </a:r>
          </a:p>
          <a:p>
            <a:pPr marL="0" lvl="3">
              <a:defRPr/>
            </a:pPr>
            <a:r>
              <a:rPr kumimoji="0" lang="ja-JP" altLang="en-US" sz="1200" dirty="0">
                <a:solidFill>
                  <a:srgbClr val="000000"/>
                </a:solidFill>
                <a:latin typeface="Trebuchet MS"/>
                <a:ea typeface="Meiryo UI"/>
              </a:rPr>
              <a:t>移動とサービスの一体化</a:t>
            </a:r>
            <a:endParaRPr kumimoji="0" lang="ja-JP" altLang="en-US" sz="1200" baseline="30000" dirty="0">
              <a:solidFill>
                <a:srgbClr val="000000"/>
              </a:solidFill>
              <a:latin typeface="Trebuchet MS"/>
              <a:ea typeface="Meiryo UI"/>
            </a:endParaRPr>
          </a:p>
        </p:txBody>
      </p:sp>
      <p:sp>
        <p:nvSpPr>
          <p:cNvPr id="52" name="ee4pHeader1"/>
          <p:cNvSpPr txBox="1"/>
          <p:nvPr/>
        </p:nvSpPr>
        <p:spPr>
          <a:xfrm>
            <a:off x="8746867" y="5199844"/>
            <a:ext cx="2650024" cy="396000"/>
          </a:xfrm>
          <a:prstGeom prst="rect">
            <a:avLst/>
          </a:prstGeom>
          <a:solidFill>
            <a:schemeClr val="bg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noAutofit/>
          </a:bodyPr>
          <a:lstStyle>
            <a:defPPr>
              <a:defRPr lang="en-US"/>
            </a:defPPr>
            <a:lvl1pPr>
              <a:defRPr kumimoji="1" sz="1200">
                <a:solidFill>
                  <a:schemeClr val="bg1"/>
                </a:solidFill>
                <a:cs typeface="Arial"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3">
              <a:defRPr/>
            </a:pPr>
            <a:r>
              <a:rPr kumimoji="0" lang="ja-JP" altLang="en-US" sz="1200" dirty="0">
                <a:solidFill>
                  <a:srgbClr val="000000"/>
                </a:solidFill>
                <a:latin typeface="Trebuchet MS"/>
                <a:ea typeface="Meiryo UI"/>
              </a:rPr>
              <a:t>最先端交通技術</a:t>
            </a:r>
            <a:r>
              <a:rPr kumimoji="0" lang="en-US" altLang="ja-JP" sz="1200" dirty="0">
                <a:solidFill>
                  <a:srgbClr val="000000"/>
                </a:solidFill>
                <a:latin typeface="Trebuchet MS"/>
                <a:ea typeface="Meiryo UI"/>
              </a:rPr>
              <a:t/>
            </a:r>
            <a:br>
              <a:rPr kumimoji="0" lang="en-US" altLang="ja-JP" sz="1200" dirty="0">
                <a:solidFill>
                  <a:srgbClr val="000000"/>
                </a:solidFill>
                <a:latin typeface="Trebuchet MS"/>
                <a:ea typeface="Meiryo UI"/>
              </a:rPr>
            </a:br>
            <a:r>
              <a:rPr kumimoji="0" lang="ja-JP" altLang="en-US" sz="1200" dirty="0">
                <a:solidFill>
                  <a:srgbClr val="000000"/>
                </a:solidFill>
                <a:latin typeface="Trebuchet MS"/>
                <a:ea typeface="Meiryo UI"/>
              </a:rPr>
              <a:t>遠隔操作技術</a:t>
            </a:r>
            <a:r>
              <a:rPr kumimoji="0" lang="en-US" altLang="ja-JP" sz="1200" dirty="0">
                <a:solidFill>
                  <a:srgbClr val="000000"/>
                </a:solidFill>
                <a:latin typeface="Trebuchet MS"/>
                <a:ea typeface="Meiryo UI"/>
              </a:rPr>
              <a:t> </a:t>
            </a:r>
            <a:r>
              <a:rPr kumimoji="0" lang="ja-JP" altLang="en-US" sz="1200" dirty="0">
                <a:solidFill>
                  <a:srgbClr val="000000"/>
                </a:solidFill>
                <a:latin typeface="Trebuchet MS"/>
                <a:ea typeface="Meiryo UI"/>
              </a:rPr>
              <a:t>等</a:t>
            </a:r>
            <a:endParaRPr kumimoji="0" lang="ja-JP" altLang="en-US" sz="1200" baseline="30000" dirty="0">
              <a:solidFill>
                <a:srgbClr val="000000"/>
              </a:solidFill>
              <a:latin typeface="Trebuchet MS"/>
              <a:ea typeface="Meiryo UI"/>
            </a:endParaRPr>
          </a:p>
        </p:txBody>
      </p:sp>
      <p:sp>
        <p:nvSpPr>
          <p:cNvPr id="60" name="Rectangle 9"/>
          <p:cNvSpPr/>
          <p:nvPr/>
        </p:nvSpPr>
        <p:spPr>
          <a:xfrm>
            <a:off x="4736377" y="5199844"/>
            <a:ext cx="3901096" cy="396000"/>
          </a:xfrm>
          <a:prstGeom prst="rect">
            <a:avLst/>
          </a:prstGeom>
          <a:solidFill>
            <a:srgbClr val="2269B0"/>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16000" tIns="90000" bIns="90000" rtlCol="0" anchor="ctr" anchorCtr="0">
            <a:noAutofit/>
          </a:bodyPr>
          <a:lstStyle/>
          <a:p>
            <a:pPr>
              <a:defRPr/>
            </a:pPr>
            <a:r>
              <a:rPr lang="ja-JP" altLang="en-US" sz="1600" b="1" dirty="0">
                <a:solidFill>
                  <a:srgbClr val="FFFFFF"/>
                </a:solidFill>
                <a:latin typeface="Trebuchet MS"/>
                <a:ea typeface="Meiryo UI"/>
                <a:cs typeface="Arial" pitchFamily="34" charset="0"/>
              </a:rPr>
              <a:t>交通に関する最新技術の導入</a:t>
            </a:r>
            <a:endParaRPr lang="en-US" altLang="ja-JP" sz="1600" b="1" dirty="0">
              <a:solidFill>
                <a:srgbClr val="FFFFFF"/>
              </a:solidFill>
              <a:latin typeface="Trebuchet MS"/>
              <a:ea typeface="Meiryo UI"/>
              <a:cs typeface="Arial" pitchFamily="34" charset="0"/>
            </a:endParaRPr>
          </a:p>
        </p:txBody>
      </p:sp>
      <p:sp>
        <p:nvSpPr>
          <p:cNvPr id="61" name="Rectangle 9"/>
          <p:cNvSpPr/>
          <p:nvPr/>
        </p:nvSpPr>
        <p:spPr>
          <a:xfrm>
            <a:off x="4736377" y="5667844"/>
            <a:ext cx="3901096" cy="396000"/>
          </a:xfrm>
          <a:prstGeom prst="rect">
            <a:avLst/>
          </a:prstGeom>
          <a:solidFill>
            <a:srgbClr val="2269B0"/>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216000" tIns="90000" bIns="90000" rtlCol="0" anchor="ctr" anchorCtr="0">
            <a:noAutofit/>
          </a:bodyPr>
          <a:lstStyle/>
          <a:p>
            <a:pPr>
              <a:defRPr/>
            </a:pPr>
            <a:r>
              <a:rPr lang="ja-JP" altLang="en-US" sz="1600" b="1" dirty="0">
                <a:solidFill>
                  <a:srgbClr val="FFFFFF"/>
                </a:solidFill>
                <a:latin typeface="Trebuchet MS"/>
                <a:ea typeface="Meiryo UI"/>
                <a:cs typeface="Arial" pitchFamily="34" charset="0"/>
              </a:rPr>
              <a:t>データを一元管理する基盤構築</a:t>
            </a:r>
            <a:endParaRPr lang="en-US" altLang="ja-JP" sz="1600" b="1" dirty="0">
              <a:solidFill>
                <a:srgbClr val="FFFFFF"/>
              </a:solidFill>
              <a:latin typeface="Trebuchet MS"/>
              <a:ea typeface="Meiryo UI"/>
              <a:cs typeface="Arial" pitchFamily="34" charset="0"/>
            </a:endParaRPr>
          </a:p>
        </p:txBody>
      </p:sp>
      <p:sp>
        <p:nvSpPr>
          <p:cNvPr id="62" name="ee4pHeader1"/>
          <p:cNvSpPr txBox="1"/>
          <p:nvPr/>
        </p:nvSpPr>
        <p:spPr>
          <a:xfrm>
            <a:off x="8746867" y="5667844"/>
            <a:ext cx="2650024" cy="396000"/>
          </a:xfrm>
          <a:prstGeom prst="rect">
            <a:avLst/>
          </a:prstGeom>
          <a:solidFill>
            <a:schemeClr val="bg1"/>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noAutofit/>
          </a:bodyPr>
          <a:lstStyle>
            <a:defPPr>
              <a:defRPr lang="en-US"/>
            </a:defPPr>
            <a:lvl1pPr>
              <a:defRPr kumimoji="1" sz="1200">
                <a:solidFill>
                  <a:schemeClr val="bg1"/>
                </a:solidFill>
                <a:cs typeface="Arial"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lvl="3">
              <a:defRPr/>
            </a:pPr>
            <a:r>
              <a:rPr kumimoji="0" lang="en-US" altLang="ja-JP" sz="1200" dirty="0">
                <a:solidFill>
                  <a:srgbClr val="000000"/>
                </a:solidFill>
                <a:latin typeface="Trebuchet MS"/>
                <a:ea typeface="Meiryo UI"/>
              </a:rPr>
              <a:t>AI</a:t>
            </a:r>
            <a:r>
              <a:rPr kumimoji="0" lang="ja-JP" altLang="en-US" sz="1200" dirty="0" err="1">
                <a:solidFill>
                  <a:srgbClr val="000000"/>
                </a:solidFill>
                <a:latin typeface="Trebuchet MS"/>
                <a:ea typeface="Meiryo UI"/>
              </a:rPr>
              <a:t>、</a:t>
            </a:r>
            <a:r>
              <a:rPr kumimoji="0" lang="en-US" altLang="ja-JP" sz="1200" dirty="0" err="1">
                <a:solidFill>
                  <a:srgbClr val="000000"/>
                </a:solidFill>
                <a:latin typeface="Trebuchet MS"/>
                <a:ea typeface="Meiryo UI"/>
              </a:rPr>
              <a:t>IoT</a:t>
            </a:r>
            <a:r>
              <a:rPr kumimoji="0" lang="ja-JP" altLang="en-US" sz="1200" dirty="0" err="1">
                <a:solidFill>
                  <a:srgbClr val="000000"/>
                </a:solidFill>
                <a:latin typeface="Trebuchet MS"/>
                <a:ea typeface="Meiryo UI"/>
              </a:rPr>
              <a:t>、</a:t>
            </a:r>
            <a:r>
              <a:rPr kumimoji="0" lang="en-US" altLang="ja-JP" sz="1200" dirty="0">
                <a:solidFill>
                  <a:srgbClr val="000000"/>
                </a:solidFill>
                <a:latin typeface="Trebuchet MS"/>
                <a:ea typeface="Meiryo UI"/>
              </a:rPr>
              <a:t>5G </a:t>
            </a:r>
            <a:r>
              <a:rPr kumimoji="0" lang="ja-JP" altLang="en-US" sz="1200" dirty="0">
                <a:solidFill>
                  <a:srgbClr val="000000"/>
                </a:solidFill>
                <a:latin typeface="Trebuchet MS"/>
                <a:ea typeface="Meiryo UI"/>
              </a:rPr>
              <a:t>等</a:t>
            </a:r>
            <a:endParaRPr kumimoji="0" lang="ja-JP" altLang="en-US" sz="1200" baseline="30000" dirty="0">
              <a:solidFill>
                <a:srgbClr val="000000"/>
              </a:solidFill>
              <a:latin typeface="Trebuchet MS"/>
              <a:ea typeface="Meiryo UI"/>
            </a:endParaRPr>
          </a:p>
        </p:txBody>
      </p:sp>
      <p:sp>
        <p:nvSpPr>
          <p:cNvPr id="3" name="タイトル 2"/>
          <p:cNvSpPr>
            <a:spLocks noGrp="1"/>
          </p:cNvSpPr>
          <p:nvPr>
            <p:ph type="title"/>
          </p:nvPr>
        </p:nvSpPr>
        <p:spPr>
          <a:xfrm>
            <a:off x="672193" y="270257"/>
            <a:ext cx="10892413" cy="424596"/>
          </a:xfrm>
        </p:spPr>
        <p:txBody>
          <a:bodyPr>
            <a:normAutofit/>
          </a:bodyPr>
          <a:lstStyle/>
          <a:p>
            <a:r>
              <a:rPr lang="en-US" altLang="ja-JP" dirty="0">
                <a:latin typeface="Meiryo UI" panose="020B0604030504040204" pitchFamily="50" charset="-128"/>
                <a:ea typeface="Meiryo UI" panose="020B0604030504040204" pitchFamily="50" charset="-128"/>
              </a:rPr>
              <a:t>2-2. Osaka</a:t>
            </a:r>
            <a:r>
              <a:rPr lang="ja-JP" altLang="en-US" dirty="0">
                <a:latin typeface="Meiryo UI" panose="020B0604030504040204" pitchFamily="50" charset="-128"/>
                <a:ea typeface="Meiryo UI" panose="020B0604030504040204" pitchFamily="50" charset="-128"/>
              </a:rPr>
              <a:t> </a:t>
            </a:r>
            <a:r>
              <a:rPr lang="en-US" altLang="ja-JP" dirty="0">
                <a:latin typeface="Meiryo UI" panose="020B0604030504040204" pitchFamily="50" charset="-128"/>
                <a:ea typeface="Meiryo UI" panose="020B0604030504040204" pitchFamily="50" charset="-128"/>
              </a:rPr>
              <a:t>Metro</a:t>
            </a:r>
            <a:r>
              <a:rPr lang="ja-JP" altLang="en-US" dirty="0">
                <a:latin typeface="Meiryo UI" panose="020B0604030504040204" pitchFamily="50" charset="-128"/>
                <a:ea typeface="Meiryo UI" panose="020B0604030504040204" pitchFamily="50" charset="-128"/>
              </a:rPr>
              <a:t>が</a:t>
            </a:r>
            <a:r>
              <a:rPr lang="ja-JP" altLang="en-US" dirty="0" smtClean="0">
                <a:latin typeface="Meiryo UI" panose="020B0604030504040204" pitchFamily="50" charset="-128"/>
                <a:ea typeface="Meiryo UI" panose="020B0604030504040204" pitchFamily="50" charset="-128"/>
              </a:rPr>
              <a:t>目指す大阪都市型</a:t>
            </a:r>
            <a:r>
              <a:rPr lang="en-US" altLang="ja-JP" dirty="0" err="1" smtClean="0">
                <a:latin typeface="Meiryo UI" panose="020B0604030504040204" pitchFamily="50" charset="-128"/>
                <a:ea typeface="Meiryo UI" panose="020B0604030504040204" pitchFamily="50" charset="-128"/>
              </a:rPr>
              <a:t>MaaS</a:t>
            </a:r>
            <a:r>
              <a:rPr lang="en-US" altLang="ja-JP" dirty="0" smtClean="0">
                <a:latin typeface="Meiryo UI" panose="020B0604030504040204" pitchFamily="50" charset="-128"/>
                <a:ea typeface="Meiryo UI" panose="020B0604030504040204" pitchFamily="50" charset="-128"/>
              </a:rPr>
              <a:t>(</a:t>
            </a:r>
            <a:r>
              <a:rPr lang="ja-JP" altLang="en-US" dirty="0" smtClean="0">
                <a:latin typeface="Meiryo UI" panose="020B0604030504040204" pitchFamily="50" charset="-128"/>
                <a:ea typeface="Meiryo UI" panose="020B0604030504040204" pitchFamily="50" charset="-128"/>
              </a:rPr>
              <a:t>観光</a:t>
            </a:r>
            <a:r>
              <a:rPr lang="ja-JP" altLang="en-US" dirty="0">
                <a:latin typeface="Meiryo UI" panose="020B0604030504040204" pitchFamily="50" charset="-128"/>
                <a:ea typeface="Meiryo UI" panose="020B0604030504040204" pitchFamily="50" charset="-128"/>
              </a:rPr>
              <a:t>・郊外型</a:t>
            </a:r>
            <a:r>
              <a:rPr lang="en-US" altLang="ja-JP" dirty="0">
                <a:latin typeface="Meiryo UI" panose="020B0604030504040204" pitchFamily="50" charset="-128"/>
                <a:ea typeface="Meiryo UI" panose="020B0604030504040204" pitchFamily="50" charset="-128"/>
              </a:rPr>
              <a:t>MaaS</a:t>
            </a:r>
            <a:r>
              <a:rPr lang="ja-JP" altLang="en-US" dirty="0">
                <a:latin typeface="Meiryo UI" panose="020B0604030504040204" pitchFamily="50" charset="-128"/>
                <a:ea typeface="Meiryo UI" panose="020B0604030504040204" pitchFamily="50" charset="-128"/>
              </a:rPr>
              <a:t>含む</a:t>
            </a:r>
            <a:r>
              <a:rPr lang="en-US" altLang="ja-JP" dirty="0">
                <a:latin typeface="Meiryo UI" panose="020B0604030504040204" pitchFamily="50" charset="-128"/>
                <a:ea typeface="Meiryo UI" panose="020B0604030504040204" pitchFamily="50" charset="-128"/>
              </a:rPr>
              <a:t>)</a:t>
            </a:r>
            <a:endParaRPr kumimoji="1" lang="ja-JP" altLang="en-US" dirty="0"/>
          </a:p>
        </p:txBody>
      </p:sp>
      <p:sp>
        <p:nvSpPr>
          <p:cNvPr id="10" name="円/楕円 9"/>
          <p:cNvSpPr/>
          <p:nvPr/>
        </p:nvSpPr>
        <p:spPr>
          <a:xfrm>
            <a:off x="6482493" y="2127919"/>
            <a:ext cx="246153" cy="246153"/>
          </a:xfrm>
          <a:prstGeom prst="ellipse">
            <a:avLst/>
          </a:prstGeom>
          <a:solidFill>
            <a:schemeClr val="accent1">
              <a:lumMod val="50000"/>
            </a:schemeClr>
          </a:solidFill>
          <a:effectLst>
            <a:glow rad="635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wrap="none" bIns="72000" rtlCol="0" anchor="ctr"/>
          <a:lstStyle/>
          <a:p>
            <a:pPr algn="ctr"/>
            <a:r>
              <a:rPr lang="en-US" altLang="ja-JP" sz="2400" b="1" dirty="0">
                <a:solidFill>
                  <a:srgbClr val="FFFFFF"/>
                </a:solidFill>
                <a:latin typeface="Trebuchet MS"/>
                <a:ea typeface="Meiryo UI"/>
                <a:cs typeface="Arial" pitchFamily="34" charset="0"/>
              </a:rPr>
              <a:t>+</a:t>
            </a:r>
          </a:p>
        </p:txBody>
      </p:sp>
      <p:sp>
        <p:nvSpPr>
          <p:cNvPr id="63" name="円/楕円 62"/>
          <p:cNvSpPr/>
          <p:nvPr/>
        </p:nvSpPr>
        <p:spPr>
          <a:xfrm>
            <a:off x="6482493" y="3202740"/>
            <a:ext cx="246153" cy="246153"/>
          </a:xfrm>
          <a:prstGeom prst="ellipse">
            <a:avLst/>
          </a:prstGeom>
          <a:solidFill>
            <a:schemeClr val="accent1">
              <a:lumMod val="50000"/>
            </a:schemeClr>
          </a:solidFill>
          <a:effectLst>
            <a:glow rad="635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wrap="none" bIns="72000" rtlCol="0" anchor="ctr"/>
          <a:lstStyle/>
          <a:p>
            <a:pPr algn="ctr"/>
            <a:r>
              <a:rPr lang="en-US" altLang="ja-JP" sz="2400" b="1" dirty="0">
                <a:solidFill>
                  <a:srgbClr val="FFFFFF"/>
                </a:solidFill>
                <a:latin typeface="Trebuchet MS"/>
                <a:ea typeface="Meiryo UI"/>
                <a:cs typeface="Arial" pitchFamily="34" charset="0"/>
              </a:rPr>
              <a:t>+</a:t>
            </a:r>
          </a:p>
        </p:txBody>
      </p:sp>
      <p:sp>
        <p:nvSpPr>
          <p:cNvPr id="66" name="Oval 20"/>
          <p:cNvSpPr>
            <a:spLocks noChangeArrowheads="1"/>
          </p:cNvSpPr>
          <p:nvPr/>
        </p:nvSpPr>
        <p:spPr bwMode="auto">
          <a:xfrm>
            <a:off x="700315" y="2626870"/>
            <a:ext cx="286614" cy="286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defRPr/>
            </a:pPr>
            <a:r>
              <a:rPr kumimoji="0" lang="en-US" sz="2000" dirty="0" smtClean="0">
                <a:solidFill>
                  <a:srgbClr val="FFFFFF"/>
                </a:solidFill>
                <a:latin typeface="Trebuchet MS"/>
                <a:ea typeface="Meiryo UI"/>
              </a:rPr>
              <a:t>2</a:t>
            </a:r>
            <a:endParaRPr kumimoji="0" lang="en-US" sz="2000" dirty="0">
              <a:solidFill>
                <a:srgbClr val="FFFFFF"/>
              </a:solidFill>
              <a:latin typeface="Trebuchet MS"/>
              <a:ea typeface="Meiryo UI"/>
            </a:endParaRPr>
          </a:p>
        </p:txBody>
      </p:sp>
      <p:sp>
        <p:nvSpPr>
          <p:cNvPr id="67" name="Oval 20"/>
          <p:cNvSpPr>
            <a:spLocks noChangeArrowheads="1"/>
          </p:cNvSpPr>
          <p:nvPr/>
        </p:nvSpPr>
        <p:spPr bwMode="auto">
          <a:xfrm>
            <a:off x="700315" y="3830028"/>
            <a:ext cx="286614" cy="286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defRPr/>
            </a:pPr>
            <a:r>
              <a:rPr kumimoji="0" lang="en-US" sz="2000" dirty="0" smtClean="0">
                <a:solidFill>
                  <a:srgbClr val="FFFFFF"/>
                </a:solidFill>
                <a:latin typeface="Trebuchet MS"/>
                <a:ea typeface="Meiryo UI"/>
              </a:rPr>
              <a:t>3</a:t>
            </a:r>
            <a:endParaRPr kumimoji="0" lang="en-US" sz="2000" dirty="0">
              <a:solidFill>
                <a:srgbClr val="FFFFFF"/>
              </a:solidFill>
              <a:latin typeface="Trebuchet MS"/>
              <a:ea typeface="Meiryo UI"/>
            </a:endParaRPr>
          </a:p>
        </p:txBody>
      </p:sp>
      <p:sp>
        <p:nvSpPr>
          <p:cNvPr id="68" name="Oval 20"/>
          <p:cNvSpPr>
            <a:spLocks noChangeArrowheads="1"/>
          </p:cNvSpPr>
          <p:nvPr/>
        </p:nvSpPr>
        <p:spPr bwMode="auto">
          <a:xfrm>
            <a:off x="700315" y="5474344"/>
            <a:ext cx="286614" cy="286614"/>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defRPr/>
            </a:pPr>
            <a:r>
              <a:rPr kumimoji="0" lang="en-US" sz="2000" dirty="0" smtClean="0">
                <a:solidFill>
                  <a:srgbClr val="FFFFFF"/>
                </a:solidFill>
                <a:latin typeface="Trebuchet MS"/>
                <a:ea typeface="Meiryo UI"/>
              </a:rPr>
              <a:t>4</a:t>
            </a:r>
            <a:endParaRPr kumimoji="0" lang="en-US" sz="2000" dirty="0">
              <a:solidFill>
                <a:srgbClr val="FFFFFF"/>
              </a:solidFill>
              <a:latin typeface="Trebuchet MS"/>
              <a:ea typeface="Meiryo UI"/>
            </a:endParaRPr>
          </a:p>
        </p:txBody>
      </p:sp>
    </p:spTree>
    <p:extLst>
      <p:ext uri="{BB962C8B-B14F-4D97-AF65-F5344CB8AC3E}">
        <p14:creationId xmlns:p14="http://schemas.microsoft.com/office/powerpoint/2010/main" val="198923909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正方形/長方形 44"/>
          <p:cNvSpPr/>
          <p:nvPr/>
        </p:nvSpPr>
        <p:spPr>
          <a:xfrm>
            <a:off x="634886" y="1930013"/>
            <a:ext cx="10925288" cy="4620648"/>
          </a:xfrm>
          <a:prstGeom prst="rect">
            <a:avLst/>
          </a:prstGeom>
          <a:gradFill>
            <a:gsLst>
              <a:gs pos="9000">
                <a:srgbClr val="ABECFB"/>
              </a:gs>
              <a:gs pos="70000">
                <a:schemeClr val="accent1">
                  <a:lumMod val="45000"/>
                  <a:lumOff val="55000"/>
                  <a:alpha val="0"/>
                </a:schemeClr>
              </a:gs>
              <a:gs pos="100000">
                <a:schemeClr val="accent1">
                  <a:lumMod val="30000"/>
                  <a:lumOff val="70000"/>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 name="Title 1"/>
          <p:cNvSpPr>
            <a:spLocks noGrp="1"/>
          </p:cNvSpPr>
          <p:nvPr>
            <p:ph type="ctrTitle"/>
          </p:nvPr>
        </p:nvSpPr>
        <p:spPr/>
        <p:txBody>
          <a:bodyPr/>
          <a:lstStyle/>
          <a:p>
            <a:r>
              <a:rPr lang="en-US" altLang="ja-JP" dirty="0">
                <a:latin typeface="Meiryo UI" panose="020B0604030504040204" pitchFamily="50" charset="-128"/>
              </a:rPr>
              <a:t>3-1.</a:t>
            </a:r>
            <a:r>
              <a:rPr lang="ja-JP" altLang="en-US" dirty="0">
                <a:latin typeface="Meiryo UI" panose="020B0604030504040204" pitchFamily="50" charset="-128"/>
              </a:rPr>
              <a:t>　</a:t>
            </a:r>
            <a:r>
              <a:rPr lang="en-US" altLang="ja-JP" dirty="0">
                <a:latin typeface="Meiryo UI" panose="020B0604030504040204" pitchFamily="50" charset="-128"/>
              </a:rPr>
              <a:t>Osaka Metro</a:t>
            </a:r>
            <a:r>
              <a:rPr lang="ja-JP" altLang="en-US" dirty="0">
                <a:latin typeface="Meiryo UI" panose="020B0604030504040204" pitchFamily="50" charset="-128"/>
              </a:rPr>
              <a:t>　</a:t>
            </a:r>
            <a:r>
              <a:rPr lang="en-US" altLang="ja-JP" dirty="0">
                <a:latin typeface="Meiryo UI" panose="020B0604030504040204" pitchFamily="50" charset="-128"/>
              </a:rPr>
              <a:t>Group</a:t>
            </a:r>
            <a:r>
              <a:rPr lang="ja-JP" altLang="en-US" dirty="0">
                <a:latin typeface="Meiryo UI" panose="020B0604030504040204" pitchFamily="50" charset="-128"/>
              </a:rPr>
              <a:t>が考えるスマートシティモデル</a:t>
            </a:r>
            <a:endParaRPr lang="en-US" dirty="0">
              <a:solidFill>
                <a:schemeClr val="tx1"/>
              </a:solidFill>
              <a:latin typeface="Meiryo UI" panose="020B0604030504040204" pitchFamily="50" charset="-128"/>
              <a:cs typeface="+mj-cs"/>
            </a:endParaRPr>
          </a:p>
        </p:txBody>
      </p:sp>
      <p:sp>
        <p:nvSpPr>
          <p:cNvPr id="3" name="Subtitle 2"/>
          <p:cNvSpPr>
            <a:spLocks noGrp="1"/>
          </p:cNvSpPr>
          <p:nvPr>
            <p:ph type="subTitle" idx="1"/>
          </p:nvPr>
        </p:nvSpPr>
        <p:spPr/>
        <p:txBody>
          <a:bodyPr/>
          <a:lstStyle/>
          <a:p>
            <a:pPr>
              <a:spcBef>
                <a:spcPts val="0"/>
              </a:spcBef>
            </a:pPr>
            <a:r>
              <a:rPr lang="ja-JP" altLang="en-US" dirty="0" smtClean="0"/>
              <a:t>特定エリアで大阪都市型</a:t>
            </a:r>
            <a:r>
              <a:rPr lang="en-US" altLang="ja-JP" dirty="0" err="1" smtClean="0"/>
              <a:t>MaaS</a:t>
            </a:r>
            <a:r>
              <a:rPr lang="ja-JP" altLang="en-US" dirty="0" smtClean="0"/>
              <a:t>の各要素を実装し、</a:t>
            </a:r>
            <a:endParaRPr lang="en-US" altLang="ja-JP" dirty="0" smtClean="0"/>
          </a:p>
          <a:p>
            <a:pPr>
              <a:spcBef>
                <a:spcPts val="0"/>
              </a:spcBef>
            </a:pPr>
            <a:r>
              <a:rPr lang="ja-JP" altLang="en-US" dirty="0" smtClean="0"/>
              <a:t>エリア全体で環境に優しい自律型のエコシステムをつくりあげる。</a:t>
            </a:r>
            <a:endParaRPr lang="en-US" altLang="ja-JP" dirty="0" smtClean="0"/>
          </a:p>
        </p:txBody>
      </p:sp>
      <p:grpSp>
        <p:nvGrpSpPr>
          <p:cNvPr id="61" name="グループ化 60"/>
          <p:cNvGrpSpPr/>
          <p:nvPr/>
        </p:nvGrpSpPr>
        <p:grpSpPr>
          <a:xfrm>
            <a:off x="641349" y="1519511"/>
            <a:ext cx="10918825" cy="409308"/>
            <a:chOff x="1030846" y="1669708"/>
            <a:chExt cx="9974037" cy="409308"/>
          </a:xfrm>
        </p:grpSpPr>
        <p:sp>
          <p:nvSpPr>
            <p:cNvPr id="17" name="Rectangle 16"/>
            <p:cNvSpPr/>
            <p:nvPr/>
          </p:nvSpPr>
          <p:spPr>
            <a:xfrm>
              <a:off x="8464335" y="1669727"/>
              <a:ext cx="2540548" cy="409289"/>
            </a:xfrm>
            <a:prstGeom prst="rect">
              <a:avLst/>
            </a:prstGeom>
            <a:solidFill>
              <a:srgbClr val="5E82F4"/>
            </a:solidFill>
          </p:spPr>
          <p:txBody>
            <a:bodyPr wrap="square" anchor="ctr">
              <a:noAutofit/>
            </a:bodyPr>
            <a:lstStyle/>
            <a:p>
              <a:pPr algn="r">
                <a:defRPr/>
              </a:pPr>
              <a:r>
                <a:rPr kumimoji="0" lang="ja-JP" altLang="en-US" sz="1400" b="1" dirty="0" smtClean="0">
                  <a:solidFill>
                    <a:srgbClr val="FFFFFF"/>
                  </a:solidFill>
                  <a:latin typeface="Meiryo UI"/>
                  <a:ea typeface="Meiryo UI"/>
                </a:rPr>
                <a:t>環境</a:t>
              </a:r>
              <a:r>
                <a:rPr kumimoji="0" lang="ja-JP" altLang="en-US" sz="1400" b="1" dirty="0">
                  <a:solidFill>
                    <a:srgbClr val="FFFFFF"/>
                  </a:solidFill>
                  <a:latin typeface="Meiryo UI"/>
                  <a:ea typeface="Meiryo UI"/>
                </a:rPr>
                <a:t>に優しい都市</a:t>
              </a:r>
              <a:r>
                <a:rPr kumimoji="0" lang="ja-JP" altLang="en-US" sz="1400" b="1" dirty="0" smtClean="0">
                  <a:solidFill>
                    <a:srgbClr val="FFFFFF"/>
                  </a:solidFill>
                  <a:latin typeface="Meiryo UI"/>
                  <a:ea typeface="Meiryo UI"/>
                </a:rPr>
                <a:t>機能</a:t>
              </a:r>
              <a:r>
                <a:rPr kumimoji="0" lang="ja-JP" altLang="en-US" sz="1400" b="1" spc="-150" dirty="0" smtClean="0">
                  <a:solidFill>
                    <a:srgbClr val="FFFFFF"/>
                  </a:solidFill>
                  <a:latin typeface="Meiryo UI"/>
                  <a:ea typeface="Meiryo UI"/>
                </a:rPr>
                <a:t>で</a:t>
              </a:r>
              <a:r>
                <a:rPr kumimoji="0" lang="ja-JP" altLang="en-US" sz="1400" b="1" spc="-150" dirty="0">
                  <a:solidFill>
                    <a:srgbClr val="FFFFFF"/>
                  </a:solidFill>
                  <a:latin typeface="Meiryo UI"/>
                  <a:ea typeface="Meiryo UI"/>
                </a:rPr>
                <a:t>ささえる</a:t>
              </a:r>
              <a:endParaRPr kumimoji="0" lang="ja-JP" altLang="ja-JP" sz="1400" b="1" spc="-150" dirty="0">
                <a:solidFill>
                  <a:srgbClr val="FFFFFF"/>
                </a:solidFill>
                <a:latin typeface="Meiryo UI"/>
                <a:ea typeface="Meiryo UI"/>
              </a:endParaRPr>
            </a:p>
          </p:txBody>
        </p:sp>
        <p:sp>
          <p:nvSpPr>
            <p:cNvPr id="8" name="Rectangle 7"/>
            <p:cNvSpPr/>
            <p:nvPr/>
          </p:nvSpPr>
          <p:spPr>
            <a:xfrm>
              <a:off x="1030846" y="1669708"/>
              <a:ext cx="2504425" cy="409289"/>
            </a:xfrm>
            <a:prstGeom prst="rect">
              <a:avLst/>
            </a:prstGeom>
            <a:solidFill>
              <a:srgbClr val="9665ED"/>
            </a:solidFill>
          </p:spPr>
          <p:txBody>
            <a:bodyPr wrap="square" lIns="324000" anchor="ctr">
              <a:noAutofit/>
            </a:bodyPr>
            <a:lstStyle/>
            <a:p>
              <a:pPr algn="ctr">
                <a:defRPr/>
              </a:pPr>
              <a:r>
                <a:rPr kumimoji="0" lang="ja-JP" altLang="en-US" sz="1400" b="1" dirty="0" smtClean="0">
                  <a:solidFill>
                    <a:srgbClr val="FFFFFF"/>
                  </a:solidFill>
                  <a:latin typeface="Meiryo UI"/>
                  <a:ea typeface="Meiryo UI"/>
                </a:rPr>
                <a:t>全移動</a:t>
              </a:r>
              <a:r>
                <a:rPr kumimoji="0" lang="ja-JP" altLang="en-US" sz="1400" b="1" dirty="0">
                  <a:solidFill>
                    <a:srgbClr val="FFFFFF"/>
                  </a:solidFill>
                  <a:latin typeface="Meiryo UI"/>
                  <a:ea typeface="Meiryo UI"/>
                </a:rPr>
                <a:t>が公共交通で完結</a:t>
              </a:r>
              <a:endParaRPr kumimoji="0" lang="ja-JP" altLang="ja-JP" sz="1400" b="1" dirty="0">
                <a:solidFill>
                  <a:srgbClr val="FFFFFF"/>
                </a:solidFill>
                <a:latin typeface="Meiryo UI"/>
                <a:ea typeface="Meiryo UI"/>
              </a:endParaRPr>
            </a:p>
          </p:txBody>
        </p:sp>
        <p:sp>
          <p:nvSpPr>
            <p:cNvPr id="11" name="Rectangle 10"/>
            <p:cNvSpPr/>
            <p:nvPr/>
          </p:nvSpPr>
          <p:spPr>
            <a:xfrm>
              <a:off x="3528644" y="1669727"/>
              <a:ext cx="2504425" cy="409289"/>
            </a:xfrm>
            <a:prstGeom prst="rect">
              <a:avLst/>
            </a:prstGeom>
            <a:solidFill>
              <a:srgbClr val="00B050"/>
            </a:solidFill>
          </p:spPr>
          <p:txBody>
            <a:bodyPr wrap="square" lIns="756000" anchor="ctr">
              <a:noAutofit/>
            </a:bodyPr>
            <a:lstStyle/>
            <a:p>
              <a:pPr>
                <a:defRPr/>
              </a:pPr>
              <a:r>
                <a:rPr kumimoji="0" lang="ja-JP" altLang="en-US" sz="1400" b="1" dirty="0" smtClean="0">
                  <a:solidFill>
                    <a:srgbClr val="FFFFFF"/>
                  </a:solidFill>
                  <a:latin typeface="Meiryo UI"/>
                  <a:ea typeface="Meiryo UI"/>
                </a:rPr>
                <a:t>犯罪</a:t>
              </a:r>
              <a:r>
                <a:rPr kumimoji="0" lang="ja-JP" altLang="en-US" sz="1400" b="1" dirty="0">
                  <a:solidFill>
                    <a:srgbClr val="FFFFFF"/>
                  </a:solidFill>
                  <a:latin typeface="Meiryo UI"/>
                  <a:ea typeface="Meiryo UI"/>
                </a:rPr>
                <a:t>・事故</a:t>
              </a:r>
              <a:r>
                <a:rPr kumimoji="0" lang="ja-JP" altLang="en-US" sz="1400" b="1" dirty="0" smtClean="0">
                  <a:solidFill>
                    <a:srgbClr val="FFFFFF"/>
                  </a:solidFill>
                  <a:latin typeface="Meiryo UI"/>
                  <a:ea typeface="Meiryo UI"/>
                </a:rPr>
                <a:t>ゼロ</a:t>
              </a:r>
              <a:endParaRPr kumimoji="0" lang="ja-JP" altLang="ja-JP" sz="1400" b="1" dirty="0">
                <a:solidFill>
                  <a:srgbClr val="FFFFFF"/>
                </a:solidFill>
                <a:latin typeface="Meiryo UI"/>
                <a:ea typeface="Meiryo UI"/>
              </a:endParaRPr>
            </a:p>
          </p:txBody>
        </p:sp>
        <p:sp>
          <p:nvSpPr>
            <p:cNvPr id="14" name="Rectangle 13"/>
            <p:cNvSpPr/>
            <p:nvPr/>
          </p:nvSpPr>
          <p:spPr>
            <a:xfrm>
              <a:off x="5768226" y="1669727"/>
              <a:ext cx="2696109" cy="409289"/>
            </a:xfrm>
            <a:prstGeom prst="rect">
              <a:avLst/>
            </a:prstGeom>
            <a:solidFill>
              <a:srgbClr val="EB971D"/>
            </a:solidFill>
          </p:spPr>
          <p:txBody>
            <a:bodyPr wrap="square" anchor="ctr">
              <a:noAutofit/>
            </a:bodyPr>
            <a:lstStyle/>
            <a:p>
              <a:pPr algn="r">
                <a:defRPr/>
              </a:pPr>
              <a:r>
                <a:rPr kumimoji="0" lang="ja-JP" altLang="en-US" sz="1400" b="1" dirty="0" smtClean="0">
                  <a:solidFill>
                    <a:srgbClr val="FFFFFF"/>
                  </a:solidFill>
                  <a:latin typeface="Meiryo UI"/>
                  <a:ea typeface="Meiryo UI"/>
                </a:rPr>
                <a:t>社会</a:t>
              </a:r>
              <a:r>
                <a:rPr kumimoji="0" lang="ja-JP" altLang="en-US" sz="1400" b="1" dirty="0">
                  <a:solidFill>
                    <a:srgbClr val="FFFFFF"/>
                  </a:solidFill>
                  <a:latin typeface="Meiryo UI"/>
                  <a:ea typeface="Meiryo UI"/>
                </a:rPr>
                <a:t>生活に必要</a:t>
              </a:r>
              <a:r>
                <a:rPr kumimoji="0" lang="ja-JP" altLang="en-US" sz="1400" b="1" dirty="0" smtClean="0">
                  <a:solidFill>
                    <a:srgbClr val="FFFFFF"/>
                  </a:solidFill>
                  <a:latin typeface="Meiryo UI"/>
                  <a:ea typeface="Meiryo UI"/>
                </a:rPr>
                <a:t>な情報</a:t>
              </a:r>
              <a:r>
                <a:rPr kumimoji="0" lang="ja-JP" altLang="en-US" sz="1400" b="1" dirty="0">
                  <a:solidFill>
                    <a:srgbClr val="FFFFFF"/>
                  </a:solidFill>
                  <a:latin typeface="Meiryo UI"/>
                  <a:ea typeface="Meiryo UI"/>
                </a:rPr>
                <a:t>が</a:t>
              </a:r>
              <a:r>
                <a:rPr kumimoji="0" lang="ja-JP" altLang="en-US" sz="1400" b="1" dirty="0" smtClean="0">
                  <a:solidFill>
                    <a:srgbClr val="FFFFFF"/>
                  </a:solidFill>
                  <a:latin typeface="Meiryo UI"/>
                  <a:ea typeface="Meiryo UI"/>
                </a:rPr>
                <a:t>つながる</a:t>
              </a:r>
              <a:endParaRPr kumimoji="0" lang="ja-JP" altLang="ja-JP" sz="1400" b="1" dirty="0">
                <a:solidFill>
                  <a:srgbClr val="FFFFFF"/>
                </a:solidFill>
                <a:latin typeface="Meiryo UI"/>
                <a:ea typeface="Meiryo UI"/>
              </a:endParaRPr>
            </a:p>
          </p:txBody>
        </p:sp>
      </p:grpSp>
      <p:sp>
        <p:nvSpPr>
          <p:cNvPr id="317" name="ee4pFootnotes"/>
          <p:cNvSpPr>
            <a:spLocks noChangeArrowheads="1"/>
          </p:cNvSpPr>
          <p:nvPr/>
        </p:nvSpPr>
        <p:spPr bwMode="auto">
          <a:xfrm>
            <a:off x="3692265" y="6645692"/>
            <a:ext cx="7283402" cy="110800"/>
          </a:xfrm>
          <a:prstGeom prst="rect">
            <a:avLst/>
          </a:prstGeom>
          <a:noFill/>
          <a:ln w="9525" algn="ctr">
            <a:noFill/>
            <a:miter lim="800000"/>
            <a:headEnd type="none" w="lg" len="lg"/>
            <a:tailEnd type="none" w="lg" len="lg"/>
          </a:ln>
        </p:spPr>
        <p:txBody>
          <a:bodyPr vert="horz" wrap="square" lIns="0" tIns="0" rIns="0" bIns="0" anchor="b" anchorCtr="0">
            <a:spAutoFit/>
          </a:bodyPr>
          <a:lstStyle/>
          <a:p>
            <a:pPr algn="r">
              <a:lnSpc>
                <a:spcPct val="90000"/>
              </a:lnSpc>
              <a:defRPr/>
            </a:pPr>
            <a:r>
              <a:rPr kumimoji="0" lang="ja-JP" altLang="ja-JP" sz="800" dirty="0">
                <a:solidFill>
                  <a:srgbClr val="000000"/>
                </a:solidFill>
                <a:latin typeface="Trebuchet MS"/>
                <a:ea typeface="Meiryo UI"/>
              </a:rPr>
              <a:t>※</a:t>
            </a:r>
            <a:r>
              <a:rPr kumimoji="0" lang="ja-JP" altLang="en-US" sz="800" dirty="0">
                <a:solidFill>
                  <a:srgbClr val="000000"/>
                </a:solidFill>
                <a:latin typeface="Trebuchet MS"/>
                <a:ea typeface="Meiryo UI"/>
              </a:rPr>
              <a:t> </a:t>
            </a:r>
            <a:r>
              <a:rPr kumimoji="0" lang="ja-JP" altLang="ja-JP" sz="800" dirty="0">
                <a:solidFill>
                  <a:srgbClr val="000000"/>
                </a:solidFill>
                <a:latin typeface="Trebuchet MS"/>
                <a:ea typeface="Meiryo UI"/>
              </a:rPr>
              <a:t>検討中のものも含む</a:t>
            </a:r>
            <a:endParaRPr kumimoji="0" lang="en-US" sz="800" dirty="0">
              <a:solidFill>
                <a:srgbClr val="7F7F7F">
                  <a:lumMod val="100000"/>
                </a:srgbClr>
              </a:solidFill>
              <a:latin typeface="Trebuchet MS" panose="020B0603020202020204" pitchFamily="34" charset="0"/>
              <a:ea typeface="Meiryo UI"/>
              <a:cs typeface="Arial" pitchFamily="34" charset="0"/>
            </a:endParaRPr>
          </a:p>
        </p:txBody>
      </p:sp>
      <p:grpSp>
        <p:nvGrpSpPr>
          <p:cNvPr id="309" name="Group 308"/>
          <p:cNvGrpSpPr/>
          <p:nvPr/>
        </p:nvGrpSpPr>
        <p:grpSpPr>
          <a:xfrm>
            <a:off x="3532179" y="3275285"/>
            <a:ext cx="5127643" cy="2512908"/>
            <a:chOff x="2213052" y="3580252"/>
            <a:chExt cx="4454577" cy="2183058"/>
          </a:xfrm>
          <a:effectLst>
            <a:outerShdw blurRad="50800" dist="38100" dir="2700000" algn="tl" rotWithShape="0">
              <a:prstClr val="black">
                <a:alpha val="40000"/>
              </a:prstClr>
            </a:outerShdw>
          </a:effectLst>
        </p:grpSpPr>
        <p:sp>
          <p:nvSpPr>
            <p:cNvPr id="322" name="Freeform 321"/>
            <p:cNvSpPr/>
            <p:nvPr/>
          </p:nvSpPr>
          <p:spPr bwMode="auto">
            <a:xfrm>
              <a:off x="2221606" y="3972544"/>
              <a:ext cx="4446023" cy="1790766"/>
            </a:xfrm>
            <a:custGeom>
              <a:avLst/>
              <a:gdLst>
                <a:gd name="connsiteX0" fmla="*/ 3669323 w 7338646"/>
                <a:gd name="connsiteY0" fmla="*/ 0 h 1708018"/>
                <a:gd name="connsiteX1" fmla="*/ 7173680 w 7338646"/>
                <a:gd name="connsiteY1" fmla="*/ 600053 h 1708018"/>
                <a:gd name="connsiteX2" fmla="*/ 7226730 w 7338646"/>
                <a:gd name="connsiteY2" fmla="*/ 648072 h 1708018"/>
                <a:gd name="connsiteX3" fmla="*/ 7338646 w 7338646"/>
                <a:gd name="connsiteY3" fmla="*/ 648072 h 1708018"/>
                <a:gd name="connsiteX4" fmla="*/ 7338646 w 7338646"/>
                <a:gd name="connsiteY4" fmla="*/ 854009 h 1708018"/>
                <a:gd name="connsiteX5" fmla="*/ 7338646 w 7338646"/>
                <a:gd name="connsiteY5" fmla="*/ 864096 h 1708018"/>
                <a:gd name="connsiteX6" fmla="*/ 7336458 w 7338646"/>
                <a:gd name="connsiteY6" fmla="*/ 864096 h 1708018"/>
                <a:gd name="connsiteX7" fmla="*/ 7319702 w 7338646"/>
                <a:gd name="connsiteY7" fmla="*/ 941327 h 1708018"/>
                <a:gd name="connsiteX8" fmla="*/ 3669323 w 7338646"/>
                <a:gd name="connsiteY8" fmla="*/ 1708018 h 1708018"/>
                <a:gd name="connsiteX9" fmla="*/ 18944 w 7338646"/>
                <a:gd name="connsiteY9" fmla="*/ 941327 h 1708018"/>
                <a:gd name="connsiteX10" fmla="*/ 2189 w 7338646"/>
                <a:gd name="connsiteY10" fmla="*/ 864096 h 1708018"/>
                <a:gd name="connsiteX11" fmla="*/ 0 w 7338646"/>
                <a:gd name="connsiteY11" fmla="*/ 864096 h 1708018"/>
                <a:gd name="connsiteX12" fmla="*/ 0 w 7338646"/>
                <a:gd name="connsiteY12" fmla="*/ 854009 h 1708018"/>
                <a:gd name="connsiteX13" fmla="*/ 0 w 7338646"/>
                <a:gd name="connsiteY13" fmla="*/ 648072 h 1708018"/>
                <a:gd name="connsiteX14" fmla="*/ 111916 w 7338646"/>
                <a:gd name="connsiteY14" fmla="*/ 648072 h 1708018"/>
                <a:gd name="connsiteX15" fmla="*/ 164966 w 7338646"/>
                <a:gd name="connsiteY15" fmla="*/ 600053 h 1708018"/>
                <a:gd name="connsiteX16" fmla="*/ 3669323 w 7338646"/>
                <a:gd name="connsiteY16" fmla="*/ 0 h 1708018"/>
                <a:gd name="connsiteX0" fmla="*/ 3669323 w 7338646"/>
                <a:gd name="connsiteY0" fmla="*/ 0 h 1708018"/>
                <a:gd name="connsiteX1" fmla="*/ 7173680 w 7338646"/>
                <a:gd name="connsiteY1" fmla="*/ 600053 h 1708018"/>
                <a:gd name="connsiteX2" fmla="*/ 7226730 w 7338646"/>
                <a:gd name="connsiteY2" fmla="*/ 648072 h 1708018"/>
                <a:gd name="connsiteX3" fmla="*/ 7338646 w 7338646"/>
                <a:gd name="connsiteY3" fmla="*/ 648072 h 1708018"/>
                <a:gd name="connsiteX4" fmla="*/ 7338646 w 7338646"/>
                <a:gd name="connsiteY4" fmla="*/ 854009 h 1708018"/>
                <a:gd name="connsiteX5" fmla="*/ 7338646 w 7338646"/>
                <a:gd name="connsiteY5" fmla="*/ 864096 h 1708018"/>
                <a:gd name="connsiteX6" fmla="*/ 7336458 w 7338646"/>
                <a:gd name="connsiteY6" fmla="*/ 864096 h 1708018"/>
                <a:gd name="connsiteX7" fmla="*/ 7319702 w 7338646"/>
                <a:gd name="connsiteY7" fmla="*/ 941327 h 1708018"/>
                <a:gd name="connsiteX8" fmla="*/ 3669323 w 7338646"/>
                <a:gd name="connsiteY8" fmla="*/ 1708018 h 1708018"/>
                <a:gd name="connsiteX9" fmla="*/ 18944 w 7338646"/>
                <a:gd name="connsiteY9" fmla="*/ 941327 h 1708018"/>
                <a:gd name="connsiteX10" fmla="*/ 2189 w 7338646"/>
                <a:gd name="connsiteY10" fmla="*/ 864096 h 1708018"/>
                <a:gd name="connsiteX11" fmla="*/ 0 w 7338646"/>
                <a:gd name="connsiteY11" fmla="*/ 864096 h 1708018"/>
                <a:gd name="connsiteX12" fmla="*/ 0 w 7338646"/>
                <a:gd name="connsiteY12" fmla="*/ 648072 h 1708018"/>
                <a:gd name="connsiteX13" fmla="*/ 111916 w 7338646"/>
                <a:gd name="connsiteY13" fmla="*/ 648072 h 1708018"/>
                <a:gd name="connsiteX14" fmla="*/ 164966 w 7338646"/>
                <a:gd name="connsiteY14" fmla="*/ 600053 h 1708018"/>
                <a:gd name="connsiteX15" fmla="*/ 3669323 w 7338646"/>
                <a:gd name="connsiteY15" fmla="*/ 0 h 1708018"/>
                <a:gd name="connsiteX0" fmla="*/ 3669323 w 7338646"/>
                <a:gd name="connsiteY0" fmla="*/ 0 h 1708018"/>
                <a:gd name="connsiteX1" fmla="*/ 7173680 w 7338646"/>
                <a:gd name="connsiteY1" fmla="*/ 600053 h 1708018"/>
                <a:gd name="connsiteX2" fmla="*/ 7226730 w 7338646"/>
                <a:gd name="connsiteY2" fmla="*/ 648072 h 1708018"/>
                <a:gd name="connsiteX3" fmla="*/ 7338646 w 7338646"/>
                <a:gd name="connsiteY3" fmla="*/ 648072 h 1708018"/>
                <a:gd name="connsiteX4" fmla="*/ 7338646 w 7338646"/>
                <a:gd name="connsiteY4" fmla="*/ 854009 h 1708018"/>
                <a:gd name="connsiteX5" fmla="*/ 7338646 w 7338646"/>
                <a:gd name="connsiteY5" fmla="*/ 864096 h 1708018"/>
                <a:gd name="connsiteX6" fmla="*/ 7336458 w 7338646"/>
                <a:gd name="connsiteY6" fmla="*/ 864096 h 1708018"/>
                <a:gd name="connsiteX7" fmla="*/ 7319702 w 7338646"/>
                <a:gd name="connsiteY7" fmla="*/ 941327 h 1708018"/>
                <a:gd name="connsiteX8" fmla="*/ 3669323 w 7338646"/>
                <a:gd name="connsiteY8" fmla="*/ 1708018 h 1708018"/>
                <a:gd name="connsiteX9" fmla="*/ 18944 w 7338646"/>
                <a:gd name="connsiteY9" fmla="*/ 941327 h 1708018"/>
                <a:gd name="connsiteX10" fmla="*/ 2189 w 7338646"/>
                <a:gd name="connsiteY10" fmla="*/ 864096 h 1708018"/>
                <a:gd name="connsiteX11" fmla="*/ 0 w 7338646"/>
                <a:gd name="connsiteY11" fmla="*/ 648072 h 1708018"/>
                <a:gd name="connsiteX12" fmla="*/ 111916 w 7338646"/>
                <a:gd name="connsiteY12" fmla="*/ 648072 h 1708018"/>
                <a:gd name="connsiteX13" fmla="*/ 164966 w 7338646"/>
                <a:gd name="connsiteY13" fmla="*/ 600053 h 1708018"/>
                <a:gd name="connsiteX14" fmla="*/ 3669323 w 7338646"/>
                <a:gd name="connsiteY14" fmla="*/ 0 h 1708018"/>
                <a:gd name="connsiteX0" fmla="*/ 3669323 w 7338646"/>
                <a:gd name="connsiteY0" fmla="*/ 0 h 1708018"/>
                <a:gd name="connsiteX1" fmla="*/ 7173680 w 7338646"/>
                <a:gd name="connsiteY1" fmla="*/ 600053 h 1708018"/>
                <a:gd name="connsiteX2" fmla="*/ 7226730 w 7338646"/>
                <a:gd name="connsiteY2" fmla="*/ 648072 h 1708018"/>
                <a:gd name="connsiteX3" fmla="*/ 7338646 w 7338646"/>
                <a:gd name="connsiteY3" fmla="*/ 648072 h 1708018"/>
                <a:gd name="connsiteX4" fmla="*/ 7338646 w 7338646"/>
                <a:gd name="connsiteY4" fmla="*/ 854009 h 1708018"/>
                <a:gd name="connsiteX5" fmla="*/ 7338646 w 7338646"/>
                <a:gd name="connsiteY5" fmla="*/ 864096 h 1708018"/>
                <a:gd name="connsiteX6" fmla="*/ 7336458 w 7338646"/>
                <a:gd name="connsiteY6" fmla="*/ 864096 h 1708018"/>
                <a:gd name="connsiteX7" fmla="*/ 7319702 w 7338646"/>
                <a:gd name="connsiteY7" fmla="*/ 941327 h 1708018"/>
                <a:gd name="connsiteX8" fmla="*/ 3669323 w 7338646"/>
                <a:gd name="connsiteY8" fmla="*/ 1708018 h 1708018"/>
                <a:gd name="connsiteX9" fmla="*/ 18944 w 7338646"/>
                <a:gd name="connsiteY9" fmla="*/ 941327 h 1708018"/>
                <a:gd name="connsiteX10" fmla="*/ 0 w 7338646"/>
                <a:gd name="connsiteY10" fmla="*/ 648072 h 1708018"/>
                <a:gd name="connsiteX11" fmla="*/ 111916 w 7338646"/>
                <a:gd name="connsiteY11" fmla="*/ 648072 h 1708018"/>
                <a:gd name="connsiteX12" fmla="*/ 164966 w 7338646"/>
                <a:gd name="connsiteY12" fmla="*/ 600053 h 1708018"/>
                <a:gd name="connsiteX13" fmla="*/ 3669323 w 7338646"/>
                <a:gd name="connsiteY13" fmla="*/ 0 h 1708018"/>
                <a:gd name="connsiteX0" fmla="*/ 3669323 w 7338646"/>
                <a:gd name="connsiteY0" fmla="*/ 0 h 1708018"/>
                <a:gd name="connsiteX1" fmla="*/ 7173680 w 7338646"/>
                <a:gd name="connsiteY1" fmla="*/ 600053 h 1708018"/>
                <a:gd name="connsiteX2" fmla="*/ 7226730 w 7338646"/>
                <a:gd name="connsiteY2" fmla="*/ 648072 h 1708018"/>
                <a:gd name="connsiteX3" fmla="*/ 7338646 w 7338646"/>
                <a:gd name="connsiteY3" fmla="*/ 648072 h 1708018"/>
                <a:gd name="connsiteX4" fmla="*/ 7338646 w 7338646"/>
                <a:gd name="connsiteY4" fmla="*/ 854009 h 1708018"/>
                <a:gd name="connsiteX5" fmla="*/ 7338646 w 7338646"/>
                <a:gd name="connsiteY5" fmla="*/ 864096 h 1708018"/>
                <a:gd name="connsiteX6" fmla="*/ 7319702 w 7338646"/>
                <a:gd name="connsiteY6" fmla="*/ 941327 h 1708018"/>
                <a:gd name="connsiteX7" fmla="*/ 3669323 w 7338646"/>
                <a:gd name="connsiteY7" fmla="*/ 1708018 h 1708018"/>
                <a:gd name="connsiteX8" fmla="*/ 18944 w 7338646"/>
                <a:gd name="connsiteY8" fmla="*/ 941327 h 1708018"/>
                <a:gd name="connsiteX9" fmla="*/ 0 w 7338646"/>
                <a:gd name="connsiteY9" fmla="*/ 648072 h 1708018"/>
                <a:gd name="connsiteX10" fmla="*/ 111916 w 7338646"/>
                <a:gd name="connsiteY10" fmla="*/ 648072 h 1708018"/>
                <a:gd name="connsiteX11" fmla="*/ 164966 w 7338646"/>
                <a:gd name="connsiteY11" fmla="*/ 600053 h 1708018"/>
                <a:gd name="connsiteX12" fmla="*/ 3669323 w 7338646"/>
                <a:gd name="connsiteY12" fmla="*/ 0 h 1708018"/>
                <a:gd name="connsiteX0" fmla="*/ 3669323 w 7338646"/>
                <a:gd name="connsiteY0" fmla="*/ 0 h 1708018"/>
                <a:gd name="connsiteX1" fmla="*/ 7173680 w 7338646"/>
                <a:gd name="connsiteY1" fmla="*/ 600053 h 1708018"/>
                <a:gd name="connsiteX2" fmla="*/ 7226730 w 7338646"/>
                <a:gd name="connsiteY2" fmla="*/ 648072 h 1708018"/>
                <a:gd name="connsiteX3" fmla="*/ 7338646 w 7338646"/>
                <a:gd name="connsiteY3" fmla="*/ 648072 h 1708018"/>
                <a:gd name="connsiteX4" fmla="*/ 7338646 w 7338646"/>
                <a:gd name="connsiteY4" fmla="*/ 854009 h 1708018"/>
                <a:gd name="connsiteX5" fmla="*/ 7319702 w 7338646"/>
                <a:gd name="connsiteY5" fmla="*/ 941327 h 1708018"/>
                <a:gd name="connsiteX6" fmla="*/ 3669323 w 7338646"/>
                <a:gd name="connsiteY6" fmla="*/ 1708018 h 1708018"/>
                <a:gd name="connsiteX7" fmla="*/ 18944 w 7338646"/>
                <a:gd name="connsiteY7" fmla="*/ 941327 h 1708018"/>
                <a:gd name="connsiteX8" fmla="*/ 0 w 7338646"/>
                <a:gd name="connsiteY8" fmla="*/ 648072 h 1708018"/>
                <a:gd name="connsiteX9" fmla="*/ 111916 w 7338646"/>
                <a:gd name="connsiteY9" fmla="*/ 648072 h 1708018"/>
                <a:gd name="connsiteX10" fmla="*/ 164966 w 7338646"/>
                <a:gd name="connsiteY10" fmla="*/ 600053 h 1708018"/>
                <a:gd name="connsiteX11" fmla="*/ 3669323 w 7338646"/>
                <a:gd name="connsiteY11" fmla="*/ 0 h 1708018"/>
                <a:gd name="connsiteX0" fmla="*/ 3669323 w 7338646"/>
                <a:gd name="connsiteY0" fmla="*/ 0 h 1708018"/>
                <a:gd name="connsiteX1" fmla="*/ 7173680 w 7338646"/>
                <a:gd name="connsiteY1" fmla="*/ 600053 h 1708018"/>
                <a:gd name="connsiteX2" fmla="*/ 7226730 w 7338646"/>
                <a:gd name="connsiteY2" fmla="*/ 648072 h 1708018"/>
                <a:gd name="connsiteX3" fmla="*/ 7338646 w 7338646"/>
                <a:gd name="connsiteY3" fmla="*/ 648072 h 1708018"/>
                <a:gd name="connsiteX4" fmla="*/ 7319702 w 7338646"/>
                <a:gd name="connsiteY4" fmla="*/ 941327 h 1708018"/>
                <a:gd name="connsiteX5" fmla="*/ 3669323 w 7338646"/>
                <a:gd name="connsiteY5" fmla="*/ 1708018 h 1708018"/>
                <a:gd name="connsiteX6" fmla="*/ 18944 w 7338646"/>
                <a:gd name="connsiteY6" fmla="*/ 941327 h 1708018"/>
                <a:gd name="connsiteX7" fmla="*/ 0 w 7338646"/>
                <a:gd name="connsiteY7" fmla="*/ 648072 h 1708018"/>
                <a:gd name="connsiteX8" fmla="*/ 111916 w 7338646"/>
                <a:gd name="connsiteY8" fmla="*/ 648072 h 1708018"/>
                <a:gd name="connsiteX9" fmla="*/ 164966 w 7338646"/>
                <a:gd name="connsiteY9" fmla="*/ 600053 h 1708018"/>
                <a:gd name="connsiteX10" fmla="*/ 3669323 w 7338646"/>
                <a:gd name="connsiteY10" fmla="*/ 0 h 1708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38646" h="1708018">
                  <a:moveTo>
                    <a:pt x="3669323" y="0"/>
                  </a:moveTo>
                  <a:cubicBezTo>
                    <a:pt x="5315863" y="0"/>
                    <a:pt x="6709102" y="252413"/>
                    <a:pt x="7173680" y="600053"/>
                  </a:cubicBezTo>
                  <a:lnTo>
                    <a:pt x="7226730" y="648072"/>
                  </a:lnTo>
                  <a:lnTo>
                    <a:pt x="7338646" y="648072"/>
                  </a:lnTo>
                  <a:lnTo>
                    <a:pt x="7319702" y="941327"/>
                  </a:lnTo>
                  <a:cubicBezTo>
                    <a:pt x="7131796" y="1371966"/>
                    <a:pt x="5569177" y="1708018"/>
                    <a:pt x="3669323" y="1708018"/>
                  </a:cubicBezTo>
                  <a:cubicBezTo>
                    <a:pt x="1769469" y="1708018"/>
                    <a:pt x="206850" y="1371966"/>
                    <a:pt x="18944" y="941327"/>
                  </a:cubicBezTo>
                  <a:lnTo>
                    <a:pt x="0" y="648072"/>
                  </a:lnTo>
                  <a:lnTo>
                    <a:pt x="111916" y="648072"/>
                  </a:lnTo>
                  <a:lnTo>
                    <a:pt x="164966" y="600053"/>
                  </a:lnTo>
                  <a:cubicBezTo>
                    <a:pt x="629544" y="252413"/>
                    <a:pt x="2022783" y="0"/>
                    <a:pt x="3669323" y="0"/>
                  </a:cubicBezTo>
                  <a:close/>
                </a:path>
              </a:pathLst>
            </a:custGeom>
            <a:solidFill>
              <a:schemeClr val="bg1">
                <a:lumMod val="65000"/>
              </a:schemeClr>
            </a:solidFill>
            <a:ln w="9525" algn="ctr">
              <a:noFill/>
              <a:miter lim="800000"/>
              <a:headEnd/>
              <a:tailEnd/>
            </a:ln>
          </p:spPr>
          <p:txBody>
            <a:bodyPr wrap="square" lIns="36000" tIns="10800" rIns="36000" bIns="10800" numCol="1" spcCol="0" rtlCol="0" fromWordArt="0" anchor="ctr" anchorCtr="0" forceAA="0" compatLnSpc="1"/>
            <a:lstStyle/>
            <a:p>
              <a:pPr marL="185738" indent="-185738" algn="ctr">
                <a:buClr>
                  <a:srgbClr val="969696"/>
                </a:buClr>
                <a:buSzPct val="80000"/>
                <a:defRPr/>
              </a:pPr>
              <a:endParaRPr kumimoji="0" lang="en-US" sz="1400" dirty="0">
                <a:solidFill>
                  <a:prstClr val="black"/>
                </a:solidFill>
                <a:latin typeface="Meiryo UI"/>
                <a:ea typeface="Meiryo UI"/>
              </a:endParaRPr>
            </a:p>
          </p:txBody>
        </p:sp>
        <p:sp>
          <p:nvSpPr>
            <p:cNvPr id="327" name="Oval 326"/>
            <p:cNvSpPr/>
            <p:nvPr/>
          </p:nvSpPr>
          <p:spPr bwMode="auto">
            <a:xfrm>
              <a:off x="2221606" y="3624954"/>
              <a:ext cx="4446023" cy="1993855"/>
            </a:xfrm>
            <a:prstGeom prst="ellipse">
              <a:avLst/>
            </a:prstGeom>
            <a:solidFill>
              <a:srgbClr val="D3D3D3"/>
            </a:solidFill>
            <a:ln w="9525" algn="ctr">
              <a:noFill/>
              <a:miter lim="800000"/>
              <a:headEnd/>
              <a:tailEnd/>
            </a:ln>
          </p:spPr>
          <p:txBody>
            <a:bodyPr wrap="none" lIns="36000" tIns="10800" rIns="36000" bIns="10800" rtlCol="0" anchor="ctr"/>
            <a:lstStyle/>
            <a:p>
              <a:pPr marL="185738" indent="-185738" algn="ctr">
                <a:buClr>
                  <a:srgbClr val="969696"/>
                </a:buClr>
                <a:buSzPct val="80000"/>
                <a:defRPr/>
              </a:pPr>
              <a:endParaRPr kumimoji="0" lang="en-US" sz="1400" dirty="0">
                <a:solidFill>
                  <a:prstClr val="black"/>
                </a:solidFill>
                <a:latin typeface="Meiryo UI"/>
                <a:ea typeface="Meiryo UI"/>
              </a:endParaRPr>
            </a:p>
          </p:txBody>
        </p:sp>
        <p:sp>
          <p:nvSpPr>
            <p:cNvPr id="328" name="Oval 327"/>
            <p:cNvSpPr/>
            <p:nvPr/>
          </p:nvSpPr>
          <p:spPr bwMode="auto">
            <a:xfrm>
              <a:off x="2331733" y="3712058"/>
              <a:ext cx="4225768" cy="1811622"/>
            </a:xfrm>
            <a:prstGeom prst="ellipse">
              <a:avLst/>
            </a:prstGeom>
            <a:solidFill>
              <a:srgbClr val="D3D3D3"/>
            </a:solidFill>
            <a:ln w="9525" algn="ctr">
              <a:noFill/>
              <a:miter lim="800000"/>
              <a:headEnd/>
              <a:tailEnd/>
            </a:ln>
            <a:extLst/>
          </p:spPr>
          <p:txBody>
            <a:bodyPr wrap="none" lIns="36000" tIns="10800" rIns="36000" bIns="10800" rtlCol="0" anchor="ctr"/>
            <a:lstStyle/>
            <a:p>
              <a:pPr marL="185738" indent="-185738" algn="ctr">
                <a:buClr>
                  <a:srgbClr val="969696"/>
                </a:buClr>
                <a:buSzPct val="80000"/>
                <a:defRPr/>
              </a:pPr>
              <a:endParaRPr kumimoji="0" lang="en-US" sz="1400" dirty="0">
                <a:solidFill>
                  <a:prstClr val="black"/>
                </a:solidFill>
                <a:latin typeface="Meiryo UI"/>
                <a:ea typeface="Meiryo UI"/>
              </a:endParaRPr>
            </a:p>
          </p:txBody>
        </p:sp>
        <p:sp>
          <p:nvSpPr>
            <p:cNvPr id="329" name="Freeform 328"/>
            <p:cNvSpPr/>
            <p:nvPr/>
          </p:nvSpPr>
          <p:spPr>
            <a:xfrm>
              <a:off x="2741787" y="3692789"/>
              <a:ext cx="1925519" cy="525509"/>
            </a:xfrm>
            <a:custGeom>
              <a:avLst/>
              <a:gdLst>
                <a:gd name="connsiteX0" fmla="*/ 0 w 3309815"/>
                <a:gd name="connsiteY0" fmla="*/ 543170 h 832339"/>
                <a:gd name="connsiteX1" fmla="*/ 2821354 w 3309815"/>
                <a:gd name="connsiteY1" fmla="*/ 832339 h 832339"/>
                <a:gd name="connsiteX2" fmla="*/ 3309815 w 3309815"/>
                <a:gd name="connsiteY2" fmla="*/ 0 h 832339"/>
                <a:gd name="connsiteX3" fmla="*/ 0 w 3309815"/>
                <a:gd name="connsiteY3" fmla="*/ 543170 h 832339"/>
                <a:gd name="connsiteX0" fmla="*/ 0 w 3309815"/>
                <a:gd name="connsiteY0" fmla="*/ 543170 h 832339"/>
                <a:gd name="connsiteX1" fmla="*/ 2821354 w 3309815"/>
                <a:gd name="connsiteY1" fmla="*/ 832339 h 832339"/>
                <a:gd name="connsiteX2" fmla="*/ 3309815 w 3309815"/>
                <a:gd name="connsiteY2" fmla="*/ 0 h 832339"/>
                <a:gd name="connsiteX3" fmla="*/ 0 w 3309815"/>
                <a:gd name="connsiteY3" fmla="*/ 543170 h 832339"/>
                <a:gd name="connsiteX0" fmla="*/ 0 w 3309815"/>
                <a:gd name="connsiteY0" fmla="*/ 543170 h 832339"/>
                <a:gd name="connsiteX1" fmla="*/ 2821354 w 3309815"/>
                <a:gd name="connsiteY1" fmla="*/ 832339 h 832339"/>
                <a:gd name="connsiteX2" fmla="*/ 3309815 w 3309815"/>
                <a:gd name="connsiteY2" fmla="*/ 0 h 832339"/>
                <a:gd name="connsiteX3" fmla="*/ 0 w 3309815"/>
                <a:gd name="connsiteY3" fmla="*/ 543170 h 832339"/>
                <a:gd name="connsiteX0" fmla="*/ 0 w 3309815"/>
                <a:gd name="connsiteY0" fmla="*/ 568991 h 858160"/>
                <a:gd name="connsiteX1" fmla="*/ 2821354 w 3309815"/>
                <a:gd name="connsiteY1" fmla="*/ 858160 h 858160"/>
                <a:gd name="connsiteX2" fmla="*/ 3309815 w 3309815"/>
                <a:gd name="connsiteY2" fmla="*/ 25821 h 858160"/>
                <a:gd name="connsiteX3" fmla="*/ 0 w 3309815"/>
                <a:gd name="connsiteY3" fmla="*/ 568991 h 858160"/>
                <a:gd name="connsiteX0" fmla="*/ 0 w 3309815"/>
                <a:gd name="connsiteY0" fmla="*/ 597856 h 887025"/>
                <a:gd name="connsiteX1" fmla="*/ 2821354 w 3309815"/>
                <a:gd name="connsiteY1" fmla="*/ 887025 h 887025"/>
                <a:gd name="connsiteX2" fmla="*/ 3309815 w 3309815"/>
                <a:gd name="connsiteY2" fmla="*/ 54686 h 887025"/>
                <a:gd name="connsiteX3" fmla="*/ 0 w 3309815"/>
                <a:gd name="connsiteY3" fmla="*/ 597856 h 887025"/>
                <a:gd name="connsiteX0" fmla="*/ 0 w 3335480"/>
                <a:gd name="connsiteY0" fmla="*/ 623171 h 875674"/>
                <a:gd name="connsiteX1" fmla="*/ 2847019 w 3335480"/>
                <a:gd name="connsiteY1" fmla="*/ 875674 h 875674"/>
                <a:gd name="connsiteX2" fmla="*/ 3335480 w 3335480"/>
                <a:gd name="connsiteY2" fmla="*/ 43335 h 875674"/>
                <a:gd name="connsiteX3" fmla="*/ 0 w 3335480"/>
                <a:gd name="connsiteY3" fmla="*/ 623171 h 875674"/>
                <a:gd name="connsiteX0" fmla="*/ 0 w 3335480"/>
                <a:gd name="connsiteY0" fmla="*/ 639478 h 891981"/>
                <a:gd name="connsiteX1" fmla="*/ 2847019 w 3335480"/>
                <a:gd name="connsiteY1" fmla="*/ 891981 h 891981"/>
                <a:gd name="connsiteX2" fmla="*/ 3335480 w 3335480"/>
                <a:gd name="connsiteY2" fmla="*/ 59642 h 891981"/>
                <a:gd name="connsiteX3" fmla="*/ 0 w 3335480"/>
                <a:gd name="connsiteY3" fmla="*/ 639478 h 891981"/>
                <a:gd name="connsiteX0" fmla="*/ 0 w 3335480"/>
                <a:gd name="connsiteY0" fmla="*/ 639478 h 910313"/>
                <a:gd name="connsiteX1" fmla="*/ 2832353 w 3335480"/>
                <a:gd name="connsiteY1" fmla="*/ 910313 h 910313"/>
                <a:gd name="connsiteX2" fmla="*/ 3335480 w 3335480"/>
                <a:gd name="connsiteY2" fmla="*/ 59642 h 910313"/>
                <a:gd name="connsiteX3" fmla="*/ 0 w 3335480"/>
                <a:gd name="connsiteY3" fmla="*/ 639478 h 910313"/>
              </a:gdLst>
              <a:ahLst/>
              <a:cxnLst>
                <a:cxn ang="0">
                  <a:pos x="connsiteX0" y="connsiteY0"/>
                </a:cxn>
                <a:cxn ang="0">
                  <a:pos x="connsiteX1" y="connsiteY1"/>
                </a:cxn>
                <a:cxn ang="0">
                  <a:pos x="connsiteX2" y="connsiteY2"/>
                </a:cxn>
                <a:cxn ang="0">
                  <a:pos x="connsiteX3" y="connsiteY3"/>
                </a:cxn>
              </a:cxnLst>
              <a:rect l="l" t="t" r="r" b="b"/>
              <a:pathLst>
                <a:path w="3335480" h="910313">
                  <a:moveTo>
                    <a:pt x="0" y="639478"/>
                  </a:moveTo>
                  <a:lnTo>
                    <a:pt x="2832353" y="910313"/>
                  </a:lnTo>
                  <a:lnTo>
                    <a:pt x="3335480" y="59642"/>
                  </a:lnTo>
                  <a:cubicBezTo>
                    <a:pt x="3095809" y="25775"/>
                    <a:pt x="2027900" y="-225233"/>
                    <a:pt x="0" y="639478"/>
                  </a:cubicBezTo>
                  <a:close/>
                </a:path>
              </a:pathLst>
            </a:custGeom>
            <a:solidFill>
              <a:srgbClr val="ADC886"/>
            </a:solidFill>
            <a:ln w="12700" cap="rnd" cmpd="sng" algn="ctr">
              <a:noFill/>
              <a:prstDash val="solid"/>
              <a:round/>
              <a:headEnd type="none" w="med" len="med"/>
              <a:tailEnd type="none" w="med" len="med"/>
            </a:ln>
            <a:effectLst/>
            <a:extLst>
              <a:ext uri="{91240B29-F687-4F45-9708-019B960494DF}">
                <a14:hiddenLine xmlns:a14="http://schemas.microsoft.com/office/drawing/2010/main" w="12700" cap="rnd"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1200" dirty="0">
                <a:solidFill>
                  <a:srgbClr val="FFFFFF"/>
                </a:solidFill>
                <a:latin typeface="Trebuchet MS"/>
                <a:ea typeface="Meiryo UI"/>
              </a:endParaRPr>
            </a:p>
          </p:txBody>
        </p:sp>
        <p:sp>
          <p:nvSpPr>
            <p:cNvPr id="330" name="Oval 296"/>
            <p:cNvSpPr/>
            <p:nvPr/>
          </p:nvSpPr>
          <p:spPr bwMode="auto">
            <a:xfrm>
              <a:off x="3913018" y="4998772"/>
              <a:ext cx="2186250" cy="509897"/>
            </a:xfrm>
            <a:custGeom>
              <a:avLst/>
              <a:gdLst>
                <a:gd name="connsiteX0" fmla="*/ 0 w 2827866"/>
                <a:gd name="connsiteY0" fmla="*/ 579967 h 1159933"/>
                <a:gd name="connsiteX1" fmla="*/ 1413933 w 2827866"/>
                <a:gd name="connsiteY1" fmla="*/ 0 h 1159933"/>
                <a:gd name="connsiteX2" fmla="*/ 2827866 w 2827866"/>
                <a:gd name="connsiteY2" fmla="*/ 579967 h 1159933"/>
                <a:gd name="connsiteX3" fmla="*/ 1413933 w 2827866"/>
                <a:gd name="connsiteY3" fmla="*/ 1159934 h 1159933"/>
                <a:gd name="connsiteX4" fmla="*/ 0 w 2827866"/>
                <a:gd name="connsiteY4" fmla="*/ 579967 h 1159933"/>
                <a:gd name="connsiteX0" fmla="*/ 73394 w 2901260"/>
                <a:gd name="connsiteY0" fmla="*/ 579967 h 1169396"/>
                <a:gd name="connsiteX1" fmla="*/ 1487327 w 2901260"/>
                <a:gd name="connsiteY1" fmla="*/ 0 h 1169396"/>
                <a:gd name="connsiteX2" fmla="*/ 2901260 w 2901260"/>
                <a:gd name="connsiteY2" fmla="*/ 579967 h 1169396"/>
                <a:gd name="connsiteX3" fmla="*/ 1487327 w 2901260"/>
                <a:gd name="connsiteY3" fmla="*/ 1159934 h 1169396"/>
                <a:gd name="connsiteX4" fmla="*/ 335860 w 2901260"/>
                <a:gd name="connsiteY4" fmla="*/ 914400 h 1169396"/>
                <a:gd name="connsiteX5" fmla="*/ 73394 w 2901260"/>
                <a:gd name="connsiteY5" fmla="*/ 579967 h 1169396"/>
                <a:gd name="connsiteX0" fmla="*/ 73394 w 2964842"/>
                <a:gd name="connsiteY0" fmla="*/ 579967 h 1160122"/>
                <a:gd name="connsiteX1" fmla="*/ 1487327 w 2964842"/>
                <a:gd name="connsiteY1" fmla="*/ 0 h 1160122"/>
                <a:gd name="connsiteX2" fmla="*/ 2901260 w 2964842"/>
                <a:gd name="connsiteY2" fmla="*/ 579967 h 1160122"/>
                <a:gd name="connsiteX3" fmla="*/ 2596460 w 2964842"/>
                <a:gd name="connsiteY3" fmla="*/ 876299 h 1160122"/>
                <a:gd name="connsiteX4" fmla="*/ 1487327 w 2964842"/>
                <a:gd name="connsiteY4" fmla="*/ 1159934 h 1160122"/>
                <a:gd name="connsiteX5" fmla="*/ 335860 w 2964842"/>
                <a:gd name="connsiteY5" fmla="*/ 914400 h 1160122"/>
                <a:gd name="connsiteX6" fmla="*/ 73394 w 2964842"/>
                <a:gd name="connsiteY6" fmla="*/ 579967 h 1160122"/>
                <a:gd name="connsiteX0" fmla="*/ 73394 w 2596460"/>
                <a:gd name="connsiteY0" fmla="*/ 585190 h 1165345"/>
                <a:gd name="connsiteX1" fmla="*/ 1487327 w 2596460"/>
                <a:gd name="connsiteY1" fmla="*/ 5223 h 1165345"/>
                <a:gd name="connsiteX2" fmla="*/ 2596460 w 2596460"/>
                <a:gd name="connsiteY2" fmla="*/ 881522 h 1165345"/>
                <a:gd name="connsiteX3" fmla="*/ 1487327 w 2596460"/>
                <a:gd name="connsiteY3" fmla="*/ 1165157 h 1165345"/>
                <a:gd name="connsiteX4" fmla="*/ 335860 w 2596460"/>
                <a:gd name="connsiteY4" fmla="*/ 919623 h 1165345"/>
                <a:gd name="connsiteX5" fmla="*/ 73394 w 2596460"/>
                <a:gd name="connsiteY5" fmla="*/ 585190 h 1165345"/>
                <a:gd name="connsiteX0" fmla="*/ 73394 w 2596460"/>
                <a:gd name="connsiteY0" fmla="*/ 144 h 580299"/>
                <a:gd name="connsiteX1" fmla="*/ 2596460 w 2596460"/>
                <a:gd name="connsiteY1" fmla="*/ 296476 h 580299"/>
                <a:gd name="connsiteX2" fmla="*/ 1487327 w 2596460"/>
                <a:gd name="connsiteY2" fmla="*/ 580111 h 580299"/>
                <a:gd name="connsiteX3" fmla="*/ 335860 w 2596460"/>
                <a:gd name="connsiteY3" fmla="*/ 334577 h 580299"/>
                <a:gd name="connsiteX4" fmla="*/ 73394 w 2596460"/>
                <a:gd name="connsiteY4" fmla="*/ 144 h 580299"/>
                <a:gd name="connsiteX0" fmla="*/ 73564 w 2596630"/>
                <a:gd name="connsiteY0" fmla="*/ 1787 h 586646"/>
                <a:gd name="connsiteX1" fmla="*/ 2596630 w 2596630"/>
                <a:gd name="connsiteY1" fmla="*/ 298119 h 586646"/>
                <a:gd name="connsiteX2" fmla="*/ 1487497 w 2596630"/>
                <a:gd name="connsiteY2" fmla="*/ 581754 h 586646"/>
                <a:gd name="connsiteX3" fmla="*/ 746663 w 2596630"/>
                <a:gd name="connsiteY3" fmla="*/ 442053 h 586646"/>
                <a:gd name="connsiteX4" fmla="*/ 73564 w 2596630"/>
                <a:gd name="connsiteY4" fmla="*/ 1787 h 586646"/>
                <a:gd name="connsiteX0" fmla="*/ 73564 w 2596630"/>
                <a:gd name="connsiteY0" fmla="*/ 1787 h 544348"/>
                <a:gd name="connsiteX1" fmla="*/ 2596630 w 2596630"/>
                <a:gd name="connsiteY1" fmla="*/ 298119 h 544348"/>
                <a:gd name="connsiteX2" fmla="*/ 1881197 w 2596630"/>
                <a:gd name="connsiteY2" fmla="*/ 535187 h 544348"/>
                <a:gd name="connsiteX3" fmla="*/ 746663 w 2596630"/>
                <a:gd name="connsiteY3" fmla="*/ 442053 h 544348"/>
                <a:gd name="connsiteX4" fmla="*/ 73564 w 2596630"/>
                <a:gd name="connsiteY4" fmla="*/ 1787 h 544348"/>
                <a:gd name="connsiteX0" fmla="*/ 73564 w 2596630"/>
                <a:gd name="connsiteY0" fmla="*/ 1699 h 556960"/>
                <a:gd name="connsiteX1" fmla="*/ 2596630 w 2596630"/>
                <a:gd name="connsiteY1" fmla="*/ 310731 h 556960"/>
                <a:gd name="connsiteX2" fmla="*/ 1881197 w 2596630"/>
                <a:gd name="connsiteY2" fmla="*/ 547799 h 556960"/>
                <a:gd name="connsiteX3" fmla="*/ 746663 w 2596630"/>
                <a:gd name="connsiteY3" fmla="*/ 454665 h 556960"/>
                <a:gd name="connsiteX4" fmla="*/ 73564 w 2596630"/>
                <a:gd name="connsiteY4" fmla="*/ 1699 h 556960"/>
                <a:gd name="connsiteX0" fmla="*/ 0 w 2523066"/>
                <a:gd name="connsiteY0" fmla="*/ 1699 h 556960"/>
                <a:gd name="connsiteX1" fmla="*/ 2523066 w 2523066"/>
                <a:gd name="connsiteY1" fmla="*/ 310731 h 556960"/>
                <a:gd name="connsiteX2" fmla="*/ 1807633 w 2523066"/>
                <a:gd name="connsiteY2" fmla="*/ 547799 h 556960"/>
                <a:gd name="connsiteX3" fmla="*/ 673099 w 2523066"/>
                <a:gd name="connsiteY3" fmla="*/ 454665 h 556960"/>
                <a:gd name="connsiteX4" fmla="*/ 0 w 2523066"/>
                <a:gd name="connsiteY4" fmla="*/ 1699 h 556960"/>
                <a:gd name="connsiteX0" fmla="*/ 0 w 2408766"/>
                <a:gd name="connsiteY0" fmla="*/ 2971 h 448165"/>
                <a:gd name="connsiteX1" fmla="*/ 2408766 w 2408766"/>
                <a:gd name="connsiteY1" fmla="*/ 201936 h 448165"/>
                <a:gd name="connsiteX2" fmla="*/ 1693333 w 2408766"/>
                <a:gd name="connsiteY2" fmla="*/ 439004 h 448165"/>
                <a:gd name="connsiteX3" fmla="*/ 558799 w 2408766"/>
                <a:gd name="connsiteY3" fmla="*/ 345870 h 448165"/>
                <a:gd name="connsiteX4" fmla="*/ 0 w 2408766"/>
                <a:gd name="connsiteY4" fmla="*/ 2971 h 448165"/>
                <a:gd name="connsiteX0" fmla="*/ 0 w 2408766"/>
                <a:gd name="connsiteY0" fmla="*/ 0 h 445194"/>
                <a:gd name="connsiteX1" fmla="*/ 2408766 w 2408766"/>
                <a:gd name="connsiteY1" fmla="*/ 198965 h 445194"/>
                <a:gd name="connsiteX2" fmla="*/ 1693333 w 2408766"/>
                <a:gd name="connsiteY2" fmla="*/ 436033 h 445194"/>
                <a:gd name="connsiteX3" fmla="*/ 558799 w 2408766"/>
                <a:gd name="connsiteY3" fmla="*/ 342899 h 445194"/>
                <a:gd name="connsiteX4" fmla="*/ 0 w 2408766"/>
                <a:gd name="connsiteY4" fmla="*/ 0 h 445194"/>
                <a:gd name="connsiteX0" fmla="*/ 0 w 2408766"/>
                <a:gd name="connsiteY0" fmla="*/ 0 h 425285"/>
                <a:gd name="connsiteX1" fmla="*/ 2408766 w 2408766"/>
                <a:gd name="connsiteY1" fmla="*/ 198965 h 425285"/>
                <a:gd name="connsiteX2" fmla="*/ 1735667 w 2408766"/>
                <a:gd name="connsiteY2" fmla="*/ 410633 h 425285"/>
                <a:gd name="connsiteX3" fmla="*/ 558799 w 2408766"/>
                <a:gd name="connsiteY3" fmla="*/ 342899 h 425285"/>
                <a:gd name="connsiteX4" fmla="*/ 0 w 2408766"/>
                <a:gd name="connsiteY4" fmla="*/ 0 h 425285"/>
                <a:gd name="connsiteX0" fmla="*/ 0 w 2366432"/>
                <a:gd name="connsiteY0" fmla="*/ 0 h 387185"/>
                <a:gd name="connsiteX1" fmla="*/ 2366432 w 2366432"/>
                <a:gd name="connsiteY1" fmla="*/ 160865 h 387185"/>
                <a:gd name="connsiteX2" fmla="*/ 1693333 w 2366432"/>
                <a:gd name="connsiteY2" fmla="*/ 372533 h 387185"/>
                <a:gd name="connsiteX3" fmla="*/ 516465 w 2366432"/>
                <a:gd name="connsiteY3" fmla="*/ 304799 h 387185"/>
                <a:gd name="connsiteX4" fmla="*/ 0 w 2366432"/>
                <a:gd name="connsiteY4" fmla="*/ 0 h 387185"/>
                <a:gd name="connsiteX0" fmla="*/ 0 w 2366432"/>
                <a:gd name="connsiteY0" fmla="*/ 0 h 387185"/>
                <a:gd name="connsiteX1" fmla="*/ 2366432 w 2366432"/>
                <a:gd name="connsiteY1" fmla="*/ 160865 h 387185"/>
                <a:gd name="connsiteX2" fmla="*/ 1693333 w 2366432"/>
                <a:gd name="connsiteY2" fmla="*/ 372533 h 387185"/>
                <a:gd name="connsiteX3" fmla="*/ 516465 w 2366432"/>
                <a:gd name="connsiteY3" fmla="*/ 304799 h 387185"/>
                <a:gd name="connsiteX4" fmla="*/ 0 w 2366432"/>
                <a:gd name="connsiteY4" fmla="*/ 0 h 387185"/>
                <a:gd name="connsiteX0" fmla="*/ 0 w 2366432"/>
                <a:gd name="connsiteY0" fmla="*/ 0 h 385704"/>
                <a:gd name="connsiteX1" fmla="*/ 2366432 w 2366432"/>
                <a:gd name="connsiteY1" fmla="*/ 160865 h 385704"/>
                <a:gd name="connsiteX2" fmla="*/ 1693333 w 2366432"/>
                <a:gd name="connsiteY2" fmla="*/ 372533 h 385704"/>
                <a:gd name="connsiteX3" fmla="*/ 512231 w 2366432"/>
                <a:gd name="connsiteY3" fmla="*/ 300566 h 385704"/>
                <a:gd name="connsiteX4" fmla="*/ 0 w 2366432"/>
                <a:gd name="connsiteY4" fmla="*/ 0 h 385704"/>
                <a:gd name="connsiteX0" fmla="*/ 0 w 2362199"/>
                <a:gd name="connsiteY0" fmla="*/ 0 h 322204"/>
                <a:gd name="connsiteX1" fmla="*/ 2362199 w 2362199"/>
                <a:gd name="connsiteY1" fmla="*/ 97365 h 322204"/>
                <a:gd name="connsiteX2" fmla="*/ 1689100 w 2362199"/>
                <a:gd name="connsiteY2" fmla="*/ 309033 h 322204"/>
                <a:gd name="connsiteX3" fmla="*/ 507998 w 2362199"/>
                <a:gd name="connsiteY3" fmla="*/ 237066 h 322204"/>
                <a:gd name="connsiteX4" fmla="*/ 0 w 2362199"/>
                <a:gd name="connsiteY4" fmla="*/ 0 h 322204"/>
                <a:gd name="connsiteX0" fmla="*/ 0 w 2362199"/>
                <a:gd name="connsiteY0" fmla="*/ 0 h 322204"/>
                <a:gd name="connsiteX1" fmla="*/ 2362199 w 2362199"/>
                <a:gd name="connsiteY1" fmla="*/ 97365 h 322204"/>
                <a:gd name="connsiteX2" fmla="*/ 1689100 w 2362199"/>
                <a:gd name="connsiteY2" fmla="*/ 309033 h 322204"/>
                <a:gd name="connsiteX3" fmla="*/ 507998 w 2362199"/>
                <a:gd name="connsiteY3" fmla="*/ 237066 h 322204"/>
                <a:gd name="connsiteX4" fmla="*/ 0 w 2362199"/>
                <a:gd name="connsiteY4" fmla="*/ 0 h 322204"/>
                <a:gd name="connsiteX0" fmla="*/ 0 w 2362199"/>
                <a:gd name="connsiteY0" fmla="*/ 0 h 322204"/>
                <a:gd name="connsiteX1" fmla="*/ 2362199 w 2362199"/>
                <a:gd name="connsiteY1" fmla="*/ 97365 h 322204"/>
                <a:gd name="connsiteX2" fmla="*/ 1689100 w 2362199"/>
                <a:gd name="connsiteY2" fmla="*/ 309033 h 322204"/>
                <a:gd name="connsiteX3" fmla="*/ 507998 w 2362199"/>
                <a:gd name="connsiteY3" fmla="*/ 237066 h 322204"/>
                <a:gd name="connsiteX4" fmla="*/ 0 w 2362199"/>
                <a:gd name="connsiteY4" fmla="*/ 0 h 322204"/>
                <a:gd name="connsiteX0" fmla="*/ 0 w 2362199"/>
                <a:gd name="connsiteY0" fmla="*/ 0 h 321284"/>
                <a:gd name="connsiteX1" fmla="*/ 2362199 w 2362199"/>
                <a:gd name="connsiteY1" fmla="*/ 97365 h 321284"/>
                <a:gd name="connsiteX2" fmla="*/ 1689100 w 2362199"/>
                <a:gd name="connsiteY2" fmla="*/ 309033 h 321284"/>
                <a:gd name="connsiteX3" fmla="*/ 507998 w 2362199"/>
                <a:gd name="connsiteY3" fmla="*/ 237066 h 321284"/>
                <a:gd name="connsiteX4" fmla="*/ 0 w 2362199"/>
                <a:gd name="connsiteY4" fmla="*/ 0 h 321284"/>
                <a:gd name="connsiteX0" fmla="*/ 0 w 2362199"/>
                <a:gd name="connsiteY0" fmla="*/ 0 h 306751"/>
                <a:gd name="connsiteX1" fmla="*/ 2362199 w 2362199"/>
                <a:gd name="connsiteY1" fmla="*/ 97365 h 306751"/>
                <a:gd name="connsiteX2" fmla="*/ 1689100 w 2362199"/>
                <a:gd name="connsiteY2" fmla="*/ 287866 h 306751"/>
                <a:gd name="connsiteX3" fmla="*/ 507998 w 2362199"/>
                <a:gd name="connsiteY3" fmla="*/ 237066 h 306751"/>
                <a:gd name="connsiteX4" fmla="*/ 0 w 2362199"/>
                <a:gd name="connsiteY4" fmla="*/ 0 h 306751"/>
                <a:gd name="connsiteX0" fmla="*/ 0 w 2362199"/>
                <a:gd name="connsiteY0" fmla="*/ 0 h 312382"/>
                <a:gd name="connsiteX1" fmla="*/ 2362199 w 2362199"/>
                <a:gd name="connsiteY1" fmla="*/ 97365 h 312382"/>
                <a:gd name="connsiteX2" fmla="*/ 1689100 w 2362199"/>
                <a:gd name="connsiteY2" fmla="*/ 287866 h 312382"/>
                <a:gd name="connsiteX3" fmla="*/ 507998 w 2362199"/>
                <a:gd name="connsiteY3" fmla="*/ 237066 h 312382"/>
                <a:gd name="connsiteX4" fmla="*/ 0 w 2362199"/>
                <a:gd name="connsiteY4" fmla="*/ 0 h 312382"/>
                <a:gd name="connsiteX0" fmla="*/ 0 w 2362199"/>
                <a:gd name="connsiteY0" fmla="*/ 0 h 322749"/>
                <a:gd name="connsiteX1" fmla="*/ 2362199 w 2362199"/>
                <a:gd name="connsiteY1" fmla="*/ 97365 h 322749"/>
                <a:gd name="connsiteX2" fmla="*/ 1689100 w 2362199"/>
                <a:gd name="connsiteY2" fmla="*/ 287866 h 322749"/>
                <a:gd name="connsiteX3" fmla="*/ 507998 w 2362199"/>
                <a:gd name="connsiteY3" fmla="*/ 237066 h 322749"/>
                <a:gd name="connsiteX4" fmla="*/ 0 w 2362199"/>
                <a:gd name="connsiteY4" fmla="*/ 0 h 322749"/>
                <a:gd name="connsiteX0" fmla="*/ 0 w 2362199"/>
                <a:gd name="connsiteY0" fmla="*/ 0 h 322749"/>
                <a:gd name="connsiteX1" fmla="*/ 855132 w 2362199"/>
                <a:gd name="connsiteY1" fmla="*/ 88900 h 322749"/>
                <a:gd name="connsiteX2" fmla="*/ 2362199 w 2362199"/>
                <a:gd name="connsiteY2" fmla="*/ 97365 h 322749"/>
                <a:gd name="connsiteX3" fmla="*/ 1689100 w 2362199"/>
                <a:gd name="connsiteY3" fmla="*/ 287866 h 322749"/>
                <a:gd name="connsiteX4" fmla="*/ 507998 w 2362199"/>
                <a:gd name="connsiteY4" fmla="*/ 237066 h 322749"/>
                <a:gd name="connsiteX5" fmla="*/ 0 w 2362199"/>
                <a:gd name="connsiteY5" fmla="*/ 0 h 322749"/>
                <a:gd name="connsiteX0" fmla="*/ 0 w 2362199"/>
                <a:gd name="connsiteY0" fmla="*/ 0 h 322749"/>
                <a:gd name="connsiteX1" fmla="*/ 855132 w 2362199"/>
                <a:gd name="connsiteY1" fmla="*/ 88900 h 322749"/>
                <a:gd name="connsiteX2" fmla="*/ 1646765 w 2362199"/>
                <a:gd name="connsiteY2" fmla="*/ 50800 h 322749"/>
                <a:gd name="connsiteX3" fmla="*/ 2362199 w 2362199"/>
                <a:gd name="connsiteY3" fmla="*/ 97365 h 322749"/>
                <a:gd name="connsiteX4" fmla="*/ 1689100 w 2362199"/>
                <a:gd name="connsiteY4" fmla="*/ 287866 h 322749"/>
                <a:gd name="connsiteX5" fmla="*/ 507998 w 2362199"/>
                <a:gd name="connsiteY5" fmla="*/ 237066 h 322749"/>
                <a:gd name="connsiteX6" fmla="*/ 0 w 2362199"/>
                <a:gd name="connsiteY6" fmla="*/ 0 h 322749"/>
                <a:gd name="connsiteX0" fmla="*/ 0 w 2362199"/>
                <a:gd name="connsiteY0" fmla="*/ 0 h 322749"/>
                <a:gd name="connsiteX1" fmla="*/ 855132 w 2362199"/>
                <a:gd name="connsiteY1" fmla="*/ 88900 h 322749"/>
                <a:gd name="connsiteX2" fmla="*/ 1646765 w 2362199"/>
                <a:gd name="connsiteY2" fmla="*/ 50800 h 322749"/>
                <a:gd name="connsiteX3" fmla="*/ 2362199 w 2362199"/>
                <a:gd name="connsiteY3" fmla="*/ 97365 h 322749"/>
                <a:gd name="connsiteX4" fmla="*/ 1689100 w 2362199"/>
                <a:gd name="connsiteY4" fmla="*/ 287866 h 322749"/>
                <a:gd name="connsiteX5" fmla="*/ 507998 w 2362199"/>
                <a:gd name="connsiteY5" fmla="*/ 237066 h 322749"/>
                <a:gd name="connsiteX6" fmla="*/ 0 w 2362199"/>
                <a:gd name="connsiteY6" fmla="*/ 0 h 322749"/>
                <a:gd name="connsiteX0" fmla="*/ 0 w 2362199"/>
                <a:gd name="connsiteY0" fmla="*/ 0 h 322749"/>
                <a:gd name="connsiteX1" fmla="*/ 855132 w 2362199"/>
                <a:gd name="connsiteY1" fmla="*/ 88900 h 322749"/>
                <a:gd name="connsiteX2" fmla="*/ 1646765 w 2362199"/>
                <a:gd name="connsiteY2" fmla="*/ 50800 h 322749"/>
                <a:gd name="connsiteX3" fmla="*/ 2362199 w 2362199"/>
                <a:gd name="connsiteY3" fmla="*/ 97365 h 322749"/>
                <a:gd name="connsiteX4" fmla="*/ 1689100 w 2362199"/>
                <a:gd name="connsiteY4" fmla="*/ 287866 h 322749"/>
                <a:gd name="connsiteX5" fmla="*/ 507998 w 2362199"/>
                <a:gd name="connsiteY5" fmla="*/ 237066 h 322749"/>
                <a:gd name="connsiteX6" fmla="*/ 0 w 2362199"/>
                <a:gd name="connsiteY6" fmla="*/ 0 h 322749"/>
                <a:gd name="connsiteX0" fmla="*/ 0 w 2362199"/>
                <a:gd name="connsiteY0" fmla="*/ 0 h 313329"/>
                <a:gd name="connsiteX1" fmla="*/ 855132 w 2362199"/>
                <a:gd name="connsiteY1" fmla="*/ 88900 h 313329"/>
                <a:gd name="connsiteX2" fmla="*/ 1646765 w 2362199"/>
                <a:gd name="connsiteY2" fmla="*/ 50800 h 313329"/>
                <a:gd name="connsiteX3" fmla="*/ 2362199 w 2362199"/>
                <a:gd name="connsiteY3" fmla="*/ 97365 h 313329"/>
                <a:gd name="connsiteX4" fmla="*/ 1680649 w 2362199"/>
                <a:gd name="connsiteY4" fmla="*/ 270997 h 313329"/>
                <a:gd name="connsiteX5" fmla="*/ 507998 w 2362199"/>
                <a:gd name="connsiteY5" fmla="*/ 237066 h 313329"/>
                <a:gd name="connsiteX6" fmla="*/ 0 w 2362199"/>
                <a:gd name="connsiteY6" fmla="*/ 0 h 313329"/>
                <a:gd name="connsiteX0" fmla="*/ 0 w 2362199"/>
                <a:gd name="connsiteY0" fmla="*/ 0 h 313329"/>
                <a:gd name="connsiteX1" fmla="*/ 855132 w 2362199"/>
                <a:gd name="connsiteY1" fmla="*/ 88900 h 313329"/>
                <a:gd name="connsiteX2" fmla="*/ 1646765 w 2362199"/>
                <a:gd name="connsiteY2" fmla="*/ 50800 h 313329"/>
                <a:gd name="connsiteX3" fmla="*/ 2362199 w 2362199"/>
                <a:gd name="connsiteY3" fmla="*/ 97365 h 313329"/>
                <a:gd name="connsiteX4" fmla="*/ 1680649 w 2362199"/>
                <a:gd name="connsiteY4" fmla="*/ 270997 h 313329"/>
                <a:gd name="connsiteX5" fmla="*/ 507998 w 2362199"/>
                <a:gd name="connsiteY5" fmla="*/ 237066 h 313329"/>
                <a:gd name="connsiteX6" fmla="*/ 0 w 2362199"/>
                <a:gd name="connsiteY6" fmla="*/ 0 h 313329"/>
                <a:gd name="connsiteX0" fmla="*/ 0 w 2362199"/>
                <a:gd name="connsiteY0" fmla="*/ 0 h 305880"/>
                <a:gd name="connsiteX1" fmla="*/ 855132 w 2362199"/>
                <a:gd name="connsiteY1" fmla="*/ 88900 h 305880"/>
                <a:gd name="connsiteX2" fmla="*/ 1646765 w 2362199"/>
                <a:gd name="connsiteY2" fmla="*/ 50800 h 305880"/>
                <a:gd name="connsiteX3" fmla="*/ 2362199 w 2362199"/>
                <a:gd name="connsiteY3" fmla="*/ 97365 h 305880"/>
                <a:gd name="connsiteX4" fmla="*/ 1680649 w 2362199"/>
                <a:gd name="connsiteY4" fmla="*/ 270997 h 305880"/>
                <a:gd name="connsiteX5" fmla="*/ 512224 w 2362199"/>
                <a:gd name="connsiteY5" fmla="*/ 220197 h 305880"/>
                <a:gd name="connsiteX6" fmla="*/ 0 w 2362199"/>
                <a:gd name="connsiteY6" fmla="*/ 0 h 305880"/>
                <a:gd name="connsiteX0" fmla="*/ 0 w 2362199"/>
                <a:gd name="connsiteY0" fmla="*/ 1380 h 307260"/>
                <a:gd name="connsiteX1" fmla="*/ 855132 w 2362199"/>
                <a:gd name="connsiteY1" fmla="*/ 90280 h 307260"/>
                <a:gd name="connsiteX2" fmla="*/ 1634088 w 2362199"/>
                <a:gd name="connsiteY2" fmla="*/ 1575 h 307260"/>
                <a:gd name="connsiteX3" fmla="*/ 2362199 w 2362199"/>
                <a:gd name="connsiteY3" fmla="*/ 98745 h 307260"/>
                <a:gd name="connsiteX4" fmla="*/ 1680649 w 2362199"/>
                <a:gd name="connsiteY4" fmla="*/ 272377 h 307260"/>
                <a:gd name="connsiteX5" fmla="*/ 512224 w 2362199"/>
                <a:gd name="connsiteY5" fmla="*/ 221577 h 307260"/>
                <a:gd name="connsiteX6" fmla="*/ 0 w 2362199"/>
                <a:gd name="connsiteY6" fmla="*/ 1380 h 307260"/>
                <a:gd name="connsiteX0" fmla="*/ 0 w 2342423"/>
                <a:gd name="connsiteY0" fmla="*/ 1380 h 307260"/>
                <a:gd name="connsiteX1" fmla="*/ 855132 w 2342423"/>
                <a:gd name="connsiteY1" fmla="*/ 90280 h 307260"/>
                <a:gd name="connsiteX2" fmla="*/ 1634088 w 2342423"/>
                <a:gd name="connsiteY2" fmla="*/ 1575 h 307260"/>
                <a:gd name="connsiteX3" fmla="*/ 2342423 w 2342423"/>
                <a:gd name="connsiteY3" fmla="*/ 63154 h 307260"/>
                <a:gd name="connsiteX4" fmla="*/ 1680649 w 2342423"/>
                <a:gd name="connsiteY4" fmla="*/ 272377 h 307260"/>
                <a:gd name="connsiteX5" fmla="*/ 512224 w 2342423"/>
                <a:gd name="connsiteY5" fmla="*/ 221577 h 307260"/>
                <a:gd name="connsiteX6" fmla="*/ 0 w 2342423"/>
                <a:gd name="connsiteY6" fmla="*/ 1380 h 307260"/>
                <a:gd name="connsiteX0" fmla="*/ 0 w 2342423"/>
                <a:gd name="connsiteY0" fmla="*/ 1380 h 307260"/>
                <a:gd name="connsiteX1" fmla="*/ 855132 w 2342423"/>
                <a:gd name="connsiteY1" fmla="*/ 90280 h 307260"/>
                <a:gd name="connsiteX2" fmla="*/ 1634088 w 2342423"/>
                <a:gd name="connsiteY2" fmla="*/ 1575 h 307260"/>
                <a:gd name="connsiteX3" fmla="*/ 2342423 w 2342423"/>
                <a:gd name="connsiteY3" fmla="*/ 63154 h 307260"/>
                <a:gd name="connsiteX4" fmla="*/ 1680649 w 2342423"/>
                <a:gd name="connsiteY4" fmla="*/ 272377 h 307260"/>
                <a:gd name="connsiteX5" fmla="*/ 512224 w 2342423"/>
                <a:gd name="connsiteY5" fmla="*/ 221577 h 307260"/>
                <a:gd name="connsiteX6" fmla="*/ 0 w 2342423"/>
                <a:gd name="connsiteY6" fmla="*/ 1380 h 307260"/>
                <a:gd name="connsiteX0" fmla="*/ 0 w 2342423"/>
                <a:gd name="connsiteY0" fmla="*/ 1380 h 307260"/>
                <a:gd name="connsiteX1" fmla="*/ 855132 w 2342423"/>
                <a:gd name="connsiteY1" fmla="*/ 90280 h 307260"/>
                <a:gd name="connsiteX2" fmla="*/ 1634088 w 2342423"/>
                <a:gd name="connsiteY2" fmla="*/ 1575 h 307260"/>
                <a:gd name="connsiteX3" fmla="*/ 2342423 w 2342423"/>
                <a:gd name="connsiteY3" fmla="*/ 63154 h 307260"/>
                <a:gd name="connsiteX4" fmla="*/ 1680649 w 2342423"/>
                <a:gd name="connsiteY4" fmla="*/ 272377 h 307260"/>
                <a:gd name="connsiteX5" fmla="*/ 512224 w 2342423"/>
                <a:gd name="connsiteY5" fmla="*/ 221577 h 307260"/>
                <a:gd name="connsiteX6" fmla="*/ 0 w 2342423"/>
                <a:gd name="connsiteY6" fmla="*/ 1380 h 307260"/>
                <a:gd name="connsiteX0" fmla="*/ 0 w 2342423"/>
                <a:gd name="connsiteY0" fmla="*/ 1380 h 307260"/>
                <a:gd name="connsiteX1" fmla="*/ 855132 w 2342423"/>
                <a:gd name="connsiteY1" fmla="*/ 90280 h 307260"/>
                <a:gd name="connsiteX2" fmla="*/ 1634088 w 2342423"/>
                <a:gd name="connsiteY2" fmla="*/ 1575 h 307260"/>
                <a:gd name="connsiteX3" fmla="*/ 2342423 w 2342423"/>
                <a:gd name="connsiteY3" fmla="*/ 63154 h 307260"/>
                <a:gd name="connsiteX4" fmla="*/ 1680649 w 2342423"/>
                <a:gd name="connsiteY4" fmla="*/ 272377 h 307260"/>
                <a:gd name="connsiteX5" fmla="*/ 512224 w 2342423"/>
                <a:gd name="connsiteY5" fmla="*/ 221577 h 307260"/>
                <a:gd name="connsiteX6" fmla="*/ 0 w 2342423"/>
                <a:gd name="connsiteY6" fmla="*/ 1380 h 307260"/>
                <a:gd name="connsiteX0" fmla="*/ 0 w 2342423"/>
                <a:gd name="connsiteY0" fmla="*/ 1380 h 307260"/>
                <a:gd name="connsiteX1" fmla="*/ 855132 w 2342423"/>
                <a:gd name="connsiteY1" fmla="*/ 90280 h 307260"/>
                <a:gd name="connsiteX2" fmla="*/ 1634088 w 2342423"/>
                <a:gd name="connsiteY2" fmla="*/ 1575 h 307260"/>
                <a:gd name="connsiteX3" fmla="*/ 2342423 w 2342423"/>
                <a:gd name="connsiteY3" fmla="*/ 63154 h 307260"/>
                <a:gd name="connsiteX4" fmla="*/ 1680649 w 2342423"/>
                <a:gd name="connsiteY4" fmla="*/ 272377 h 307260"/>
                <a:gd name="connsiteX5" fmla="*/ 512224 w 2342423"/>
                <a:gd name="connsiteY5" fmla="*/ 221577 h 307260"/>
                <a:gd name="connsiteX6" fmla="*/ 0 w 2342423"/>
                <a:gd name="connsiteY6" fmla="*/ 1380 h 307260"/>
                <a:gd name="connsiteX0" fmla="*/ 0 w 2342423"/>
                <a:gd name="connsiteY0" fmla="*/ 1380 h 307260"/>
                <a:gd name="connsiteX1" fmla="*/ 855132 w 2342423"/>
                <a:gd name="connsiteY1" fmla="*/ 90280 h 307260"/>
                <a:gd name="connsiteX2" fmla="*/ 1634088 w 2342423"/>
                <a:gd name="connsiteY2" fmla="*/ 1575 h 307260"/>
                <a:gd name="connsiteX3" fmla="*/ 2342423 w 2342423"/>
                <a:gd name="connsiteY3" fmla="*/ 63154 h 307260"/>
                <a:gd name="connsiteX4" fmla="*/ 1680649 w 2342423"/>
                <a:gd name="connsiteY4" fmla="*/ 272377 h 307260"/>
                <a:gd name="connsiteX5" fmla="*/ 512224 w 2342423"/>
                <a:gd name="connsiteY5" fmla="*/ 221577 h 307260"/>
                <a:gd name="connsiteX6" fmla="*/ 0 w 2342423"/>
                <a:gd name="connsiteY6" fmla="*/ 1380 h 307260"/>
                <a:gd name="connsiteX0" fmla="*/ 35529 w 1865728"/>
                <a:gd name="connsiteY0" fmla="*/ 221577 h 307260"/>
                <a:gd name="connsiteX1" fmla="*/ 378437 w 1865728"/>
                <a:gd name="connsiteY1" fmla="*/ 90280 h 307260"/>
                <a:gd name="connsiteX2" fmla="*/ 1157393 w 1865728"/>
                <a:gd name="connsiteY2" fmla="*/ 1575 h 307260"/>
                <a:gd name="connsiteX3" fmla="*/ 1865728 w 1865728"/>
                <a:gd name="connsiteY3" fmla="*/ 63154 h 307260"/>
                <a:gd name="connsiteX4" fmla="*/ 1203954 w 1865728"/>
                <a:gd name="connsiteY4" fmla="*/ 272377 h 307260"/>
                <a:gd name="connsiteX5" fmla="*/ 35529 w 1865728"/>
                <a:gd name="connsiteY5" fmla="*/ 221577 h 307260"/>
                <a:gd name="connsiteX0" fmla="*/ 28760 w 1858959"/>
                <a:gd name="connsiteY0" fmla="*/ 221553 h 307236"/>
                <a:gd name="connsiteX1" fmla="*/ 468855 w 1858959"/>
                <a:gd name="connsiteY1" fmla="*/ 92097 h 307236"/>
                <a:gd name="connsiteX2" fmla="*/ 1150624 w 1858959"/>
                <a:gd name="connsiteY2" fmla="*/ 1551 h 307236"/>
                <a:gd name="connsiteX3" fmla="*/ 1858959 w 1858959"/>
                <a:gd name="connsiteY3" fmla="*/ 63130 h 307236"/>
                <a:gd name="connsiteX4" fmla="*/ 1197185 w 1858959"/>
                <a:gd name="connsiteY4" fmla="*/ 272353 h 307236"/>
                <a:gd name="connsiteX5" fmla="*/ 28760 w 1858959"/>
                <a:gd name="connsiteY5" fmla="*/ 221553 h 307236"/>
                <a:gd name="connsiteX0" fmla="*/ 0 w 1830199"/>
                <a:gd name="connsiteY0" fmla="*/ 221553 h 307236"/>
                <a:gd name="connsiteX1" fmla="*/ 440095 w 1830199"/>
                <a:gd name="connsiteY1" fmla="*/ 92097 h 307236"/>
                <a:gd name="connsiteX2" fmla="*/ 1121864 w 1830199"/>
                <a:gd name="connsiteY2" fmla="*/ 1551 h 307236"/>
                <a:gd name="connsiteX3" fmla="*/ 1830199 w 1830199"/>
                <a:gd name="connsiteY3" fmla="*/ 63130 h 307236"/>
                <a:gd name="connsiteX4" fmla="*/ 1168425 w 1830199"/>
                <a:gd name="connsiteY4" fmla="*/ 272353 h 307236"/>
                <a:gd name="connsiteX5" fmla="*/ 0 w 1830199"/>
                <a:gd name="connsiteY5" fmla="*/ 221553 h 307236"/>
                <a:gd name="connsiteX0" fmla="*/ 0 w 1830199"/>
                <a:gd name="connsiteY0" fmla="*/ 221715 h 307398"/>
                <a:gd name="connsiteX1" fmla="*/ 550923 w 1830199"/>
                <a:gd name="connsiteY1" fmla="*/ 81212 h 307398"/>
                <a:gd name="connsiteX2" fmla="*/ 1121864 w 1830199"/>
                <a:gd name="connsiteY2" fmla="*/ 1713 h 307398"/>
                <a:gd name="connsiteX3" fmla="*/ 1830199 w 1830199"/>
                <a:gd name="connsiteY3" fmla="*/ 63292 h 307398"/>
                <a:gd name="connsiteX4" fmla="*/ 1168425 w 1830199"/>
                <a:gd name="connsiteY4" fmla="*/ 272515 h 307398"/>
                <a:gd name="connsiteX5" fmla="*/ 0 w 1830199"/>
                <a:gd name="connsiteY5" fmla="*/ 221715 h 307398"/>
                <a:gd name="connsiteX0" fmla="*/ 0 w 1830199"/>
                <a:gd name="connsiteY0" fmla="*/ 221908 h 307591"/>
                <a:gd name="connsiteX1" fmla="*/ 550923 w 1830199"/>
                <a:gd name="connsiteY1" fmla="*/ 81405 h 307591"/>
                <a:gd name="connsiteX2" fmla="*/ 1121864 w 1830199"/>
                <a:gd name="connsiteY2" fmla="*/ 1906 h 307591"/>
                <a:gd name="connsiteX3" fmla="*/ 1830199 w 1830199"/>
                <a:gd name="connsiteY3" fmla="*/ 63485 h 307591"/>
                <a:gd name="connsiteX4" fmla="*/ 1168425 w 1830199"/>
                <a:gd name="connsiteY4" fmla="*/ 272708 h 307591"/>
                <a:gd name="connsiteX5" fmla="*/ 0 w 1830199"/>
                <a:gd name="connsiteY5" fmla="*/ 221908 h 307591"/>
                <a:gd name="connsiteX0" fmla="*/ 0 w 1830199"/>
                <a:gd name="connsiteY0" fmla="*/ 214705 h 300388"/>
                <a:gd name="connsiteX1" fmla="*/ 550923 w 1830199"/>
                <a:gd name="connsiteY1" fmla="*/ 74202 h 300388"/>
                <a:gd name="connsiteX2" fmla="*/ 1092879 w 1830199"/>
                <a:gd name="connsiteY2" fmla="*/ 2067 h 300388"/>
                <a:gd name="connsiteX3" fmla="*/ 1830199 w 1830199"/>
                <a:gd name="connsiteY3" fmla="*/ 56282 h 300388"/>
                <a:gd name="connsiteX4" fmla="*/ 1168425 w 1830199"/>
                <a:gd name="connsiteY4" fmla="*/ 265505 h 300388"/>
                <a:gd name="connsiteX5" fmla="*/ 0 w 1830199"/>
                <a:gd name="connsiteY5" fmla="*/ 214705 h 300388"/>
                <a:gd name="connsiteX0" fmla="*/ 0 w 1507947"/>
                <a:gd name="connsiteY0" fmla="*/ 247846 h 316314"/>
                <a:gd name="connsiteX1" fmla="*/ 228671 w 1507947"/>
                <a:gd name="connsiteY1" fmla="*/ 74202 h 316314"/>
                <a:gd name="connsiteX2" fmla="*/ 770627 w 1507947"/>
                <a:gd name="connsiteY2" fmla="*/ 2067 h 316314"/>
                <a:gd name="connsiteX3" fmla="*/ 1507947 w 1507947"/>
                <a:gd name="connsiteY3" fmla="*/ 56282 h 316314"/>
                <a:gd name="connsiteX4" fmla="*/ 846173 w 1507947"/>
                <a:gd name="connsiteY4" fmla="*/ 265505 h 316314"/>
                <a:gd name="connsiteX5" fmla="*/ 0 w 1507947"/>
                <a:gd name="connsiteY5" fmla="*/ 247846 h 316314"/>
                <a:gd name="connsiteX0" fmla="*/ 0 w 1507947"/>
                <a:gd name="connsiteY0" fmla="*/ 247846 h 316314"/>
                <a:gd name="connsiteX1" fmla="*/ 228671 w 1507947"/>
                <a:gd name="connsiteY1" fmla="*/ 74202 h 316314"/>
                <a:gd name="connsiteX2" fmla="*/ 770627 w 1507947"/>
                <a:gd name="connsiteY2" fmla="*/ 2067 h 316314"/>
                <a:gd name="connsiteX3" fmla="*/ 1507947 w 1507947"/>
                <a:gd name="connsiteY3" fmla="*/ 56282 h 316314"/>
                <a:gd name="connsiteX4" fmla="*/ 846173 w 1507947"/>
                <a:gd name="connsiteY4" fmla="*/ 265505 h 316314"/>
                <a:gd name="connsiteX5" fmla="*/ 0 w 1507947"/>
                <a:gd name="connsiteY5" fmla="*/ 247846 h 316314"/>
                <a:gd name="connsiteX0" fmla="*/ 0 w 1337443"/>
                <a:gd name="connsiteY0" fmla="*/ 288351 h 342092"/>
                <a:gd name="connsiteX1" fmla="*/ 58167 w 1337443"/>
                <a:gd name="connsiteY1" fmla="*/ 74202 h 342092"/>
                <a:gd name="connsiteX2" fmla="*/ 600123 w 1337443"/>
                <a:gd name="connsiteY2" fmla="*/ 2067 h 342092"/>
                <a:gd name="connsiteX3" fmla="*/ 1337443 w 1337443"/>
                <a:gd name="connsiteY3" fmla="*/ 56282 h 342092"/>
                <a:gd name="connsiteX4" fmla="*/ 675669 w 1337443"/>
                <a:gd name="connsiteY4" fmla="*/ 265505 h 342092"/>
                <a:gd name="connsiteX5" fmla="*/ 0 w 1337443"/>
                <a:gd name="connsiteY5" fmla="*/ 288351 h 342092"/>
                <a:gd name="connsiteX0" fmla="*/ 0 w 1337443"/>
                <a:gd name="connsiteY0" fmla="*/ 291216 h 344957"/>
                <a:gd name="connsiteX1" fmla="*/ 341203 w 1337443"/>
                <a:gd name="connsiteY1" fmla="*/ 25515 h 344957"/>
                <a:gd name="connsiteX2" fmla="*/ 600123 w 1337443"/>
                <a:gd name="connsiteY2" fmla="*/ 4932 h 344957"/>
                <a:gd name="connsiteX3" fmla="*/ 1337443 w 1337443"/>
                <a:gd name="connsiteY3" fmla="*/ 59147 h 344957"/>
                <a:gd name="connsiteX4" fmla="*/ 675669 w 1337443"/>
                <a:gd name="connsiteY4" fmla="*/ 268370 h 344957"/>
                <a:gd name="connsiteX5" fmla="*/ 0 w 1337443"/>
                <a:gd name="connsiteY5" fmla="*/ 291216 h 344957"/>
                <a:gd name="connsiteX0" fmla="*/ 0 w 1337443"/>
                <a:gd name="connsiteY0" fmla="*/ 291216 h 307911"/>
                <a:gd name="connsiteX1" fmla="*/ 341203 w 1337443"/>
                <a:gd name="connsiteY1" fmla="*/ 25515 h 307911"/>
                <a:gd name="connsiteX2" fmla="*/ 600123 w 1337443"/>
                <a:gd name="connsiteY2" fmla="*/ 4932 h 307911"/>
                <a:gd name="connsiteX3" fmla="*/ 1337443 w 1337443"/>
                <a:gd name="connsiteY3" fmla="*/ 59147 h 307911"/>
                <a:gd name="connsiteX4" fmla="*/ 675669 w 1337443"/>
                <a:gd name="connsiteY4" fmla="*/ 268370 h 307911"/>
                <a:gd name="connsiteX5" fmla="*/ 0 w 1337443"/>
                <a:gd name="connsiteY5" fmla="*/ 291216 h 307911"/>
                <a:gd name="connsiteX0" fmla="*/ 0 w 1337443"/>
                <a:gd name="connsiteY0" fmla="*/ 291216 h 301130"/>
                <a:gd name="connsiteX1" fmla="*/ 341203 w 1337443"/>
                <a:gd name="connsiteY1" fmla="*/ 25515 h 301130"/>
                <a:gd name="connsiteX2" fmla="*/ 600123 w 1337443"/>
                <a:gd name="connsiteY2" fmla="*/ 4932 h 301130"/>
                <a:gd name="connsiteX3" fmla="*/ 1337443 w 1337443"/>
                <a:gd name="connsiteY3" fmla="*/ 59147 h 301130"/>
                <a:gd name="connsiteX4" fmla="*/ 675669 w 1337443"/>
                <a:gd name="connsiteY4" fmla="*/ 268370 h 301130"/>
                <a:gd name="connsiteX5" fmla="*/ 0 w 1337443"/>
                <a:gd name="connsiteY5" fmla="*/ 291216 h 301130"/>
                <a:gd name="connsiteX0" fmla="*/ 0 w 1337443"/>
                <a:gd name="connsiteY0" fmla="*/ 291007 h 300921"/>
                <a:gd name="connsiteX1" fmla="*/ 341203 w 1337443"/>
                <a:gd name="connsiteY1" fmla="*/ 25306 h 300921"/>
                <a:gd name="connsiteX2" fmla="*/ 600123 w 1337443"/>
                <a:gd name="connsiteY2" fmla="*/ 4723 h 300921"/>
                <a:gd name="connsiteX3" fmla="*/ 1337443 w 1337443"/>
                <a:gd name="connsiteY3" fmla="*/ 58938 h 300921"/>
                <a:gd name="connsiteX4" fmla="*/ 675669 w 1337443"/>
                <a:gd name="connsiteY4" fmla="*/ 268161 h 300921"/>
                <a:gd name="connsiteX5" fmla="*/ 0 w 1337443"/>
                <a:gd name="connsiteY5" fmla="*/ 291007 h 300921"/>
                <a:gd name="connsiteX0" fmla="*/ 0 w 1337443"/>
                <a:gd name="connsiteY0" fmla="*/ 302724 h 312638"/>
                <a:gd name="connsiteX1" fmla="*/ 341203 w 1337443"/>
                <a:gd name="connsiteY1" fmla="*/ 37023 h 312638"/>
                <a:gd name="connsiteX2" fmla="*/ 666619 w 1337443"/>
                <a:gd name="connsiteY2" fmla="*/ 3552 h 312638"/>
                <a:gd name="connsiteX3" fmla="*/ 1337443 w 1337443"/>
                <a:gd name="connsiteY3" fmla="*/ 70655 h 312638"/>
                <a:gd name="connsiteX4" fmla="*/ 675669 w 1337443"/>
                <a:gd name="connsiteY4" fmla="*/ 279878 h 312638"/>
                <a:gd name="connsiteX5" fmla="*/ 0 w 1337443"/>
                <a:gd name="connsiteY5" fmla="*/ 302724 h 312638"/>
                <a:gd name="connsiteX0" fmla="*/ 0 w 1337443"/>
                <a:gd name="connsiteY0" fmla="*/ 302724 h 312638"/>
                <a:gd name="connsiteX1" fmla="*/ 341203 w 1337443"/>
                <a:gd name="connsiteY1" fmla="*/ 37023 h 312638"/>
                <a:gd name="connsiteX2" fmla="*/ 666619 w 1337443"/>
                <a:gd name="connsiteY2" fmla="*/ 3552 h 312638"/>
                <a:gd name="connsiteX3" fmla="*/ 1337443 w 1337443"/>
                <a:gd name="connsiteY3" fmla="*/ 70655 h 312638"/>
                <a:gd name="connsiteX4" fmla="*/ 675669 w 1337443"/>
                <a:gd name="connsiteY4" fmla="*/ 279878 h 312638"/>
                <a:gd name="connsiteX5" fmla="*/ 0 w 1337443"/>
                <a:gd name="connsiteY5" fmla="*/ 302724 h 312638"/>
                <a:gd name="connsiteX0" fmla="*/ 0 w 1337443"/>
                <a:gd name="connsiteY0" fmla="*/ 303423 h 313337"/>
                <a:gd name="connsiteX1" fmla="*/ 341203 w 1337443"/>
                <a:gd name="connsiteY1" fmla="*/ 37722 h 313337"/>
                <a:gd name="connsiteX2" fmla="*/ 666619 w 1337443"/>
                <a:gd name="connsiteY2" fmla="*/ 4251 h 313337"/>
                <a:gd name="connsiteX3" fmla="*/ 1337443 w 1337443"/>
                <a:gd name="connsiteY3" fmla="*/ 71354 h 313337"/>
                <a:gd name="connsiteX4" fmla="*/ 675669 w 1337443"/>
                <a:gd name="connsiteY4" fmla="*/ 280577 h 313337"/>
                <a:gd name="connsiteX5" fmla="*/ 0 w 1337443"/>
                <a:gd name="connsiteY5" fmla="*/ 303423 h 313337"/>
                <a:gd name="connsiteX0" fmla="*/ 0 w 1337443"/>
                <a:gd name="connsiteY0" fmla="*/ 303423 h 313337"/>
                <a:gd name="connsiteX1" fmla="*/ 341203 w 1337443"/>
                <a:gd name="connsiteY1" fmla="*/ 37722 h 313337"/>
                <a:gd name="connsiteX2" fmla="*/ 666619 w 1337443"/>
                <a:gd name="connsiteY2" fmla="*/ 4251 h 313337"/>
                <a:gd name="connsiteX3" fmla="*/ 1337443 w 1337443"/>
                <a:gd name="connsiteY3" fmla="*/ 71354 h 313337"/>
                <a:gd name="connsiteX4" fmla="*/ 675669 w 1337443"/>
                <a:gd name="connsiteY4" fmla="*/ 280577 h 313337"/>
                <a:gd name="connsiteX5" fmla="*/ 0 w 1337443"/>
                <a:gd name="connsiteY5" fmla="*/ 303423 h 313337"/>
                <a:gd name="connsiteX0" fmla="*/ 0 w 1337443"/>
                <a:gd name="connsiteY0" fmla="*/ 303423 h 313337"/>
                <a:gd name="connsiteX1" fmla="*/ 341203 w 1337443"/>
                <a:gd name="connsiteY1" fmla="*/ 37722 h 313337"/>
                <a:gd name="connsiteX2" fmla="*/ 666619 w 1337443"/>
                <a:gd name="connsiteY2" fmla="*/ 4251 h 313337"/>
                <a:gd name="connsiteX3" fmla="*/ 1337443 w 1337443"/>
                <a:gd name="connsiteY3" fmla="*/ 71354 h 313337"/>
                <a:gd name="connsiteX4" fmla="*/ 675669 w 1337443"/>
                <a:gd name="connsiteY4" fmla="*/ 280577 h 313337"/>
                <a:gd name="connsiteX5" fmla="*/ 0 w 1337443"/>
                <a:gd name="connsiteY5" fmla="*/ 303423 h 313337"/>
                <a:gd name="connsiteX0" fmla="*/ 0 w 1337443"/>
                <a:gd name="connsiteY0" fmla="*/ 303423 h 311038"/>
                <a:gd name="connsiteX1" fmla="*/ 341203 w 1337443"/>
                <a:gd name="connsiteY1" fmla="*/ 37722 h 311038"/>
                <a:gd name="connsiteX2" fmla="*/ 666619 w 1337443"/>
                <a:gd name="connsiteY2" fmla="*/ 4251 h 311038"/>
                <a:gd name="connsiteX3" fmla="*/ 1337443 w 1337443"/>
                <a:gd name="connsiteY3" fmla="*/ 71354 h 311038"/>
                <a:gd name="connsiteX4" fmla="*/ 673944 w 1337443"/>
                <a:gd name="connsiteY4" fmla="*/ 275183 h 311038"/>
                <a:gd name="connsiteX5" fmla="*/ 0 w 1337443"/>
                <a:gd name="connsiteY5" fmla="*/ 303423 h 311038"/>
                <a:gd name="connsiteX0" fmla="*/ 0 w 1296039"/>
                <a:gd name="connsiteY0" fmla="*/ 380733 h 381422"/>
                <a:gd name="connsiteX1" fmla="*/ 299799 w 1296039"/>
                <a:gd name="connsiteY1" fmla="*/ 37722 h 381422"/>
                <a:gd name="connsiteX2" fmla="*/ 625215 w 1296039"/>
                <a:gd name="connsiteY2" fmla="*/ 4251 h 381422"/>
                <a:gd name="connsiteX3" fmla="*/ 1296039 w 1296039"/>
                <a:gd name="connsiteY3" fmla="*/ 71354 h 381422"/>
                <a:gd name="connsiteX4" fmla="*/ 632540 w 1296039"/>
                <a:gd name="connsiteY4" fmla="*/ 275183 h 381422"/>
                <a:gd name="connsiteX5" fmla="*/ 0 w 1296039"/>
                <a:gd name="connsiteY5" fmla="*/ 380733 h 381422"/>
                <a:gd name="connsiteX0" fmla="*/ 0 w 1377121"/>
                <a:gd name="connsiteY0" fmla="*/ 380733 h 381422"/>
                <a:gd name="connsiteX1" fmla="*/ 299799 w 1377121"/>
                <a:gd name="connsiteY1" fmla="*/ 37722 h 381422"/>
                <a:gd name="connsiteX2" fmla="*/ 625215 w 1377121"/>
                <a:gd name="connsiteY2" fmla="*/ 4251 h 381422"/>
                <a:gd name="connsiteX3" fmla="*/ 1377121 w 1377121"/>
                <a:gd name="connsiteY3" fmla="*/ 136079 h 381422"/>
                <a:gd name="connsiteX4" fmla="*/ 632540 w 1377121"/>
                <a:gd name="connsiteY4" fmla="*/ 275183 h 381422"/>
                <a:gd name="connsiteX5" fmla="*/ 0 w 1377121"/>
                <a:gd name="connsiteY5" fmla="*/ 380733 h 381422"/>
                <a:gd name="connsiteX0" fmla="*/ 0 w 1377121"/>
                <a:gd name="connsiteY0" fmla="*/ 380733 h 381422"/>
                <a:gd name="connsiteX1" fmla="*/ 299799 w 1377121"/>
                <a:gd name="connsiteY1" fmla="*/ 37722 h 381422"/>
                <a:gd name="connsiteX2" fmla="*/ 625215 w 1377121"/>
                <a:gd name="connsiteY2" fmla="*/ 4251 h 381422"/>
                <a:gd name="connsiteX3" fmla="*/ 1377121 w 1377121"/>
                <a:gd name="connsiteY3" fmla="*/ 136079 h 381422"/>
                <a:gd name="connsiteX4" fmla="*/ 632540 w 1377121"/>
                <a:gd name="connsiteY4" fmla="*/ 275183 h 381422"/>
                <a:gd name="connsiteX5" fmla="*/ 0 w 1377121"/>
                <a:gd name="connsiteY5" fmla="*/ 380733 h 381422"/>
                <a:gd name="connsiteX0" fmla="*/ 0 w 1135600"/>
                <a:gd name="connsiteY0" fmla="*/ 260273 h 294963"/>
                <a:gd name="connsiteX1" fmla="*/ 58278 w 1135600"/>
                <a:gd name="connsiteY1" fmla="*/ 37722 h 294963"/>
                <a:gd name="connsiteX2" fmla="*/ 383694 w 1135600"/>
                <a:gd name="connsiteY2" fmla="*/ 4251 h 294963"/>
                <a:gd name="connsiteX3" fmla="*/ 1135600 w 1135600"/>
                <a:gd name="connsiteY3" fmla="*/ 136079 h 294963"/>
                <a:gd name="connsiteX4" fmla="*/ 391019 w 1135600"/>
                <a:gd name="connsiteY4" fmla="*/ 275183 h 294963"/>
                <a:gd name="connsiteX5" fmla="*/ 0 w 1135600"/>
                <a:gd name="connsiteY5" fmla="*/ 260273 h 294963"/>
                <a:gd name="connsiteX0" fmla="*/ 62680 w 1198280"/>
                <a:gd name="connsiteY0" fmla="*/ 257880 h 292570"/>
                <a:gd name="connsiteX1" fmla="*/ 43326 w 1198280"/>
                <a:gd name="connsiteY1" fmla="*/ 91064 h 292570"/>
                <a:gd name="connsiteX2" fmla="*/ 446374 w 1198280"/>
                <a:gd name="connsiteY2" fmla="*/ 1858 h 292570"/>
                <a:gd name="connsiteX3" fmla="*/ 1198280 w 1198280"/>
                <a:gd name="connsiteY3" fmla="*/ 133686 h 292570"/>
                <a:gd name="connsiteX4" fmla="*/ 453699 w 1198280"/>
                <a:gd name="connsiteY4" fmla="*/ 272790 h 292570"/>
                <a:gd name="connsiteX5" fmla="*/ 62680 w 1198280"/>
                <a:gd name="connsiteY5" fmla="*/ 257880 h 292570"/>
                <a:gd name="connsiteX0" fmla="*/ 19354 w 1154954"/>
                <a:gd name="connsiteY0" fmla="*/ 257880 h 292570"/>
                <a:gd name="connsiteX1" fmla="*/ 0 w 1154954"/>
                <a:gd name="connsiteY1" fmla="*/ 91064 h 292570"/>
                <a:gd name="connsiteX2" fmla="*/ 403048 w 1154954"/>
                <a:gd name="connsiteY2" fmla="*/ 1858 h 292570"/>
                <a:gd name="connsiteX3" fmla="*/ 1154954 w 1154954"/>
                <a:gd name="connsiteY3" fmla="*/ 133686 h 292570"/>
                <a:gd name="connsiteX4" fmla="*/ 410373 w 1154954"/>
                <a:gd name="connsiteY4" fmla="*/ 272790 h 292570"/>
                <a:gd name="connsiteX5" fmla="*/ 19354 w 1154954"/>
                <a:gd name="connsiteY5" fmla="*/ 257880 h 292570"/>
                <a:gd name="connsiteX0" fmla="*/ 48682 w 1184282"/>
                <a:gd name="connsiteY0" fmla="*/ 257567 h 292257"/>
                <a:gd name="connsiteX1" fmla="*/ 0 w 1184282"/>
                <a:gd name="connsiteY1" fmla="*/ 110528 h 292257"/>
                <a:gd name="connsiteX2" fmla="*/ 432376 w 1184282"/>
                <a:gd name="connsiteY2" fmla="*/ 1545 h 292257"/>
                <a:gd name="connsiteX3" fmla="*/ 1184282 w 1184282"/>
                <a:gd name="connsiteY3" fmla="*/ 133373 h 292257"/>
                <a:gd name="connsiteX4" fmla="*/ 439701 w 1184282"/>
                <a:gd name="connsiteY4" fmla="*/ 272477 h 292257"/>
                <a:gd name="connsiteX5" fmla="*/ 48682 w 1184282"/>
                <a:gd name="connsiteY5" fmla="*/ 257567 h 292257"/>
                <a:gd name="connsiteX0" fmla="*/ 439701 w 1184282"/>
                <a:gd name="connsiteY0" fmla="*/ 272477 h 272477"/>
                <a:gd name="connsiteX1" fmla="*/ 0 w 1184282"/>
                <a:gd name="connsiteY1" fmla="*/ 110528 h 272477"/>
                <a:gd name="connsiteX2" fmla="*/ 432376 w 1184282"/>
                <a:gd name="connsiteY2" fmla="*/ 1545 h 272477"/>
                <a:gd name="connsiteX3" fmla="*/ 1184282 w 1184282"/>
                <a:gd name="connsiteY3" fmla="*/ 133373 h 272477"/>
                <a:gd name="connsiteX4" fmla="*/ 439701 w 1184282"/>
                <a:gd name="connsiteY4" fmla="*/ 272477 h 272477"/>
                <a:gd name="connsiteX0" fmla="*/ 796807 w 1541388"/>
                <a:gd name="connsiteY0" fmla="*/ 271507 h 320609"/>
                <a:gd name="connsiteX1" fmla="*/ 0 w 1541388"/>
                <a:gd name="connsiteY1" fmla="*/ 307328 h 320609"/>
                <a:gd name="connsiteX2" fmla="*/ 789482 w 1541388"/>
                <a:gd name="connsiteY2" fmla="*/ 575 h 320609"/>
                <a:gd name="connsiteX3" fmla="*/ 1541388 w 1541388"/>
                <a:gd name="connsiteY3" fmla="*/ 132403 h 320609"/>
                <a:gd name="connsiteX4" fmla="*/ 796807 w 1541388"/>
                <a:gd name="connsiteY4" fmla="*/ 271507 h 320609"/>
                <a:gd name="connsiteX0" fmla="*/ 879971 w 1624552"/>
                <a:gd name="connsiteY0" fmla="*/ 271507 h 378608"/>
                <a:gd name="connsiteX1" fmla="*/ 83541 w 1624552"/>
                <a:gd name="connsiteY1" fmla="*/ 377747 h 378608"/>
                <a:gd name="connsiteX2" fmla="*/ 83164 w 1624552"/>
                <a:gd name="connsiteY2" fmla="*/ 307328 h 378608"/>
                <a:gd name="connsiteX3" fmla="*/ 872646 w 1624552"/>
                <a:gd name="connsiteY3" fmla="*/ 575 h 378608"/>
                <a:gd name="connsiteX4" fmla="*/ 1624552 w 1624552"/>
                <a:gd name="connsiteY4" fmla="*/ 132403 h 378608"/>
                <a:gd name="connsiteX5" fmla="*/ 879971 w 1624552"/>
                <a:gd name="connsiteY5" fmla="*/ 271507 h 378608"/>
                <a:gd name="connsiteX0" fmla="*/ 879971 w 1624552"/>
                <a:gd name="connsiteY0" fmla="*/ 271507 h 380259"/>
                <a:gd name="connsiteX1" fmla="*/ 83541 w 1624552"/>
                <a:gd name="connsiteY1" fmla="*/ 377747 h 380259"/>
                <a:gd name="connsiteX2" fmla="*/ 83164 w 1624552"/>
                <a:gd name="connsiteY2" fmla="*/ 307328 h 380259"/>
                <a:gd name="connsiteX3" fmla="*/ 872646 w 1624552"/>
                <a:gd name="connsiteY3" fmla="*/ 575 h 380259"/>
                <a:gd name="connsiteX4" fmla="*/ 1624552 w 1624552"/>
                <a:gd name="connsiteY4" fmla="*/ 132403 h 380259"/>
                <a:gd name="connsiteX5" fmla="*/ 879971 w 1624552"/>
                <a:gd name="connsiteY5" fmla="*/ 271507 h 380259"/>
                <a:gd name="connsiteX0" fmla="*/ 879971 w 1624552"/>
                <a:gd name="connsiteY0" fmla="*/ 271507 h 378608"/>
                <a:gd name="connsiteX1" fmla="*/ 83541 w 1624552"/>
                <a:gd name="connsiteY1" fmla="*/ 377747 h 378608"/>
                <a:gd name="connsiteX2" fmla="*/ 83164 w 1624552"/>
                <a:gd name="connsiteY2" fmla="*/ 307328 h 378608"/>
                <a:gd name="connsiteX3" fmla="*/ 872646 w 1624552"/>
                <a:gd name="connsiteY3" fmla="*/ 575 h 378608"/>
                <a:gd name="connsiteX4" fmla="*/ 1624552 w 1624552"/>
                <a:gd name="connsiteY4" fmla="*/ 132403 h 378608"/>
                <a:gd name="connsiteX5" fmla="*/ 879971 w 1624552"/>
                <a:gd name="connsiteY5" fmla="*/ 271507 h 378608"/>
                <a:gd name="connsiteX0" fmla="*/ 835096 w 1579677"/>
                <a:gd name="connsiteY0" fmla="*/ 271507 h 377747"/>
                <a:gd name="connsiteX1" fmla="*/ 38666 w 1579677"/>
                <a:gd name="connsiteY1" fmla="*/ 377747 h 377747"/>
                <a:gd name="connsiteX2" fmla="*/ 38289 w 1579677"/>
                <a:gd name="connsiteY2" fmla="*/ 307328 h 377747"/>
                <a:gd name="connsiteX3" fmla="*/ 827771 w 1579677"/>
                <a:gd name="connsiteY3" fmla="*/ 575 h 377747"/>
                <a:gd name="connsiteX4" fmla="*/ 1579677 w 1579677"/>
                <a:gd name="connsiteY4" fmla="*/ 132403 h 377747"/>
                <a:gd name="connsiteX5" fmla="*/ 835096 w 1579677"/>
                <a:gd name="connsiteY5" fmla="*/ 271507 h 377747"/>
                <a:gd name="connsiteX0" fmla="*/ 798373 w 1542954"/>
                <a:gd name="connsiteY0" fmla="*/ 271507 h 377747"/>
                <a:gd name="connsiteX1" fmla="*/ 1943 w 1542954"/>
                <a:gd name="connsiteY1" fmla="*/ 377747 h 377747"/>
                <a:gd name="connsiteX2" fmla="*/ 1566 w 1542954"/>
                <a:gd name="connsiteY2" fmla="*/ 307328 h 377747"/>
                <a:gd name="connsiteX3" fmla="*/ 791048 w 1542954"/>
                <a:gd name="connsiteY3" fmla="*/ 575 h 377747"/>
                <a:gd name="connsiteX4" fmla="*/ 1542954 w 1542954"/>
                <a:gd name="connsiteY4" fmla="*/ 132403 h 377747"/>
                <a:gd name="connsiteX5" fmla="*/ 798373 w 1542954"/>
                <a:gd name="connsiteY5" fmla="*/ 271507 h 377747"/>
                <a:gd name="connsiteX0" fmla="*/ 798373 w 1542954"/>
                <a:gd name="connsiteY0" fmla="*/ 345221 h 377747"/>
                <a:gd name="connsiteX1" fmla="*/ 1943 w 1542954"/>
                <a:gd name="connsiteY1" fmla="*/ 377747 h 377747"/>
                <a:gd name="connsiteX2" fmla="*/ 1566 w 1542954"/>
                <a:gd name="connsiteY2" fmla="*/ 307328 h 377747"/>
                <a:gd name="connsiteX3" fmla="*/ 791048 w 1542954"/>
                <a:gd name="connsiteY3" fmla="*/ 575 h 377747"/>
                <a:gd name="connsiteX4" fmla="*/ 1542954 w 1542954"/>
                <a:gd name="connsiteY4" fmla="*/ 132403 h 377747"/>
                <a:gd name="connsiteX5" fmla="*/ 798373 w 1542954"/>
                <a:gd name="connsiteY5" fmla="*/ 345221 h 377747"/>
                <a:gd name="connsiteX0" fmla="*/ 798734 w 1543315"/>
                <a:gd name="connsiteY0" fmla="*/ 345221 h 366960"/>
                <a:gd name="connsiteX1" fmla="*/ 579 w 1543315"/>
                <a:gd name="connsiteY1" fmla="*/ 366960 h 366960"/>
                <a:gd name="connsiteX2" fmla="*/ 1927 w 1543315"/>
                <a:gd name="connsiteY2" fmla="*/ 307328 h 366960"/>
                <a:gd name="connsiteX3" fmla="*/ 791409 w 1543315"/>
                <a:gd name="connsiteY3" fmla="*/ 575 h 366960"/>
                <a:gd name="connsiteX4" fmla="*/ 1543315 w 1543315"/>
                <a:gd name="connsiteY4" fmla="*/ 132403 h 366960"/>
                <a:gd name="connsiteX5" fmla="*/ 798734 w 1543315"/>
                <a:gd name="connsiteY5" fmla="*/ 345221 h 366960"/>
                <a:gd name="connsiteX0" fmla="*/ 798734 w 1543315"/>
                <a:gd name="connsiteY0" fmla="*/ 345221 h 375126"/>
                <a:gd name="connsiteX1" fmla="*/ 579 w 1543315"/>
                <a:gd name="connsiteY1" fmla="*/ 366960 h 375126"/>
                <a:gd name="connsiteX2" fmla="*/ 1927 w 1543315"/>
                <a:gd name="connsiteY2" fmla="*/ 307328 h 375126"/>
                <a:gd name="connsiteX3" fmla="*/ 791409 w 1543315"/>
                <a:gd name="connsiteY3" fmla="*/ 575 h 375126"/>
                <a:gd name="connsiteX4" fmla="*/ 1543315 w 1543315"/>
                <a:gd name="connsiteY4" fmla="*/ 132403 h 375126"/>
                <a:gd name="connsiteX5" fmla="*/ 798734 w 1543315"/>
                <a:gd name="connsiteY5" fmla="*/ 345221 h 375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3315" h="375126">
                  <a:moveTo>
                    <a:pt x="798734" y="345221"/>
                  </a:moveTo>
                  <a:cubicBezTo>
                    <a:pt x="586178" y="374425"/>
                    <a:pt x="194516" y="383413"/>
                    <a:pt x="579" y="366960"/>
                  </a:cubicBezTo>
                  <a:cubicBezTo>
                    <a:pt x="2340" y="308206"/>
                    <a:pt x="-2505" y="347717"/>
                    <a:pt x="1927" y="307328"/>
                  </a:cubicBezTo>
                  <a:cubicBezTo>
                    <a:pt x="49210" y="288949"/>
                    <a:pt x="552931" y="-14947"/>
                    <a:pt x="791409" y="575"/>
                  </a:cubicBezTo>
                  <a:cubicBezTo>
                    <a:pt x="1034113" y="32965"/>
                    <a:pt x="1440348" y="-6063"/>
                    <a:pt x="1543315" y="132403"/>
                  </a:cubicBezTo>
                  <a:cubicBezTo>
                    <a:pt x="1360396" y="221946"/>
                    <a:pt x="1111994" y="305069"/>
                    <a:pt x="798734" y="345221"/>
                  </a:cubicBezTo>
                  <a:close/>
                </a:path>
              </a:pathLst>
            </a:custGeom>
            <a:solidFill>
              <a:srgbClr val="D3D3D3"/>
            </a:solidFill>
            <a:ln w="9525" algn="ctr">
              <a:noFill/>
              <a:miter lim="800000"/>
              <a:headEnd/>
              <a:tailEnd/>
            </a:ln>
          </p:spPr>
          <p:txBody>
            <a:bodyPr wrap="none" lIns="36000" tIns="10800" rIns="36000" bIns="10800" rtlCol="0" anchor="ctr"/>
            <a:lstStyle/>
            <a:p>
              <a:pPr marL="185738" indent="-185738" algn="ctr">
                <a:buClr>
                  <a:srgbClr val="969696"/>
                </a:buClr>
                <a:buSzPct val="80000"/>
                <a:defRPr/>
              </a:pPr>
              <a:endParaRPr kumimoji="0" lang="en-US" sz="1400" dirty="0">
                <a:solidFill>
                  <a:prstClr val="black"/>
                </a:solidFill>
                <a:latin typeface="Meiryo UI"/>
                <a:ea typeface="Meiryo UI"/>
              </a:endParaRPr>
            </a:p>
          </p:txBody>
        </p:sp>
        <p:sp>
          <p:nvSpPr>
            <p:cNvPr id="331" name="Freeform 330"/>
            <p:cNvSpPr/>
            <p:nvPr/>
          </p:nvSpPr>
          <p:spPr bwMode="auto">
            <a:xfrm>
              <a:off x="2334876" y="4172747"/>
              <a:ext cx="827476" cy="920423"/>
            </a:xfrm>
            <a:custGeom>
              <a:avLst/>
              <a:gdLst>
                <a:gd name="connsiteX0" fmla="*/ 0 w 1209040"/>
                <a:gd name="connsiteY0" fmla="*/ 254000 h 756920"/>
                <a:gd name="connsiteX1" fmla="*/ 812800 w 1209040"/>
                <a:gd name="connsiteY1" fmla="*/ 756920 h 756920"/>
                <a:gd name="connsiteX2" fmla="*/ 1209040 w 1209040"/>
                <a:gd name="connsiteY2" fmla="*/ 538480 h 756920"/>
                <a:gd name="connsiteX3" fmla="*/ 457200 w 1209040"/>
                <a:gd name="connsiteY3" fmla="*/ 0 h 756920"/>
                <a:gd name="connsiteX4" fmla="*/ 0 w 1209040"/>
                <a:gd name="connsiteY4" fmla="*/ 254000 h 756920"/>
                <a:gd name="connsiteX0" fmla="*/ 0 w 1209040"/>
                <a:gd name="connsiteY0" fmla="*/ 254000 h 756920"/>
                <a:gd name="connsiteX1" fmla="*/ 812800 w 1209040"/>
                <a:gd name="connsiteY1" fmla="*/ 756920 h 756920"/>
                <a:gd name="connsiteX2" fmla="*/ 1209040 w 1209040"/>
                <a:gd name="connsiteY2" fmla="*/ 538480 h 756920"/>
                <a:gd name="connsiteX3" fmla="*/ 457200 w 1209040"/>
                <a:gd name="connsiteY3" fmla="*/ 0 h 756920"/>
                <a:gd name="connsiteX4" fmla="*/ 0 w 1209040"/>
                <a:gd name="connsiteY4" fmla="*/ 254000 h 756920"/>
                <a:gd name="connsiteX0" fmla="*/ 0 w 1209040"/>
                <a:gd name="connsiteY0" fmla="*/ 254000 h 756920"/>
                <a:gd name="connsiteX1" fmla="*/ 812800 w 1209040"/>
                <a:gd name="connsiteY1" fmla="*/ 756920 h 756920"/>
                <a:gd name="connsiteX2" fmla="*/ 1209040 w 1209040"/>
                <a:gd name="connsiteY2" fmla="*/ 538480 h 756920"/>
                <a:gd name="connsiteX3" fmla="*/ 457200 w 1209040"/>
                <a:gd name="connsiteY3" fmla="*/ 0 h 756920"/>
                <a:gd name="connsiteX4" fmla="*/ 0 w 1209040"/>
                <a:gd name="connsiteY4" fmla="*/ 254000 h 756920"/>
                <a:gd name="connsiteX0" fmla="*/ 0 w 1307316"/>
                <a:gd name="connsiteY0" fmla="*/ 530630 h 756920"/>
                <a:gd name="connsiteX1" fmla="*/ 911076 w 1307316"/>
                <a:gd name="connsiteY1" fmla="*/ 756920 h 756920"/>
                <a:gd name="connsiteX2" fmla="*/ 1307316 w 1307316"/>
                <a:gd name="connsiteY2" fmla="*/ 538480 h 756920"/>
                <a:gd name="connsiteX3" fmla="*/ 555476 w 1307316"/>
                <a:gd name="connsiteY3" fmla="*/ 0 h 756920"/>
                <a:gd name="connsiteX4" fmla="*/ 0 w 1307316"/>
                <a:gd name="connsiteY4" fmla="*/ 530630 h 756920"/>
                <a:gd name="connsiteX0" fmla="*/ 0 w 1307316"/>
                <a:gd name="connsiteY0" fmla="*/ 530630 h 756920"/>
                <a:gd name="connsiteX1" fmla="*/ 911076 w 1307316"/>
                <a:gd name="connsiteY1" fmla="*/ 756920 h 756920"/>
                <a:gd name="connsiteX2" fmla="*/ 1307316 w 1307316"/>
                <a:gd name="connsiteY2" fmla="*/ 538480 h 756920"/>
                <a:gd name="connsiteX3" fmla="*/ 555476 w 1307316"/>
                <a:gd name="connsiteY3" fmla="*/ 0 h 756920"/>
                <a:gd name="connsiteX4" fmla="*/ 0 w 1307316"/>
                <a:gd name="connsiteY4" fmla="*/ 530630 h 756920"/>
                <a:gd name="connsiteX0" fmla="*/ 0 w 855973"/>
                <a:gd name="connsiteY0" fmla="*/ 1229484 h 1229484"/>
                <a:gd name="connsiteX1" fmla="*/ 459733 w 855973"/>
                <a:gd name="connsiteY1" fmla="*/ 756920 h 1229484"/>
                <a:gd name="connsiteX2" fmla="*/ 855973 w 855973"/>
                <a:gd name="connsiteY2" fmla="*/ 538480 h 1229484"/>
                <a:gd name="connsiteX3" fmla="*/ 104133 w 855973"/>
                <a:gd name="connsiteY3" fmla="*/ 0 h 1229484"/>
                <a:gd name="connsiteX4" fmla="*/ 0 w 855973"/>
                <a:gd name="connsiteY4" fmla="*/ 1229484 h 1229484"/>
                <a:gd name="connsiteX0" fmla="*/ 378499 w 1234472"/>
                <a:gd name="connsiteY0" fmla="*/ 1229484 h 1229484"/>
                <a:gd name="connsiteX1" fmla="*/ 838232 w 1234472"/>
                <a:gd name="connsiteY1" fmla="*/ 756920 h 1229484"/>
                <a:gd name="connsiteX2" fmla="*/ 1234472 w 1234472"/>
                <a:gd name="connsiteY2" fmla="*/ 538480 h 1229484"/>
                <a:gd name="connsiteX3" fmla="*/ 482632 w 1234472"/>
                <a:gd name="connsiteY3" fmla="*/ 0 h 1229484"/>
                <a:gd name="connsiteX4" fmla="*/ 378499 w 1234472"/>
                <a:gd name="connsiteY4" fmla="*/ 1229484 h 1229484"/>
                <a:gd name="connsiteX0" fmla="*/ 472129 w 1328102"/>
                <a:gd name="connsiteY0" fmla="*/ 1229484 h 1229484"/>
                <a:gd name="connsiteX1" fmla="*/ 931862 w 1328102"/>
                <a:gd name="connsiteY1" fmla="*/ 756920 h 1229484"/>
                <a:gd name="connsiteX2" fmla="*/ 1328102 w 1328102"/>
                <a:gd name="connsiteY2" fmla="*/ 538480 h 1229484"/>
                <a:gd name="connsiteX3" fmla="*/ 576262 w 1328102"/>
                <a:gd name="connsiteY3" fmla="*/ 0 h 1229484"/>
                <a:gd name="connsiteX4" fmla="*/ 472129 w 1328102"/>
                <a:gd name="connsiteY4" fmla="*/ 1229484 h 1229484"/>
                <a:gd name="connsiteX0" fmla="*/ 458131 w 1314104"/>
                <a:gd name="connsiteY0" fmla="*/ 1229484 h 1229484"/>
                <a:gd name="connsiteX1" fmla="*/ 917864 w 1314104"/>
                <a:gd name="connsiteY1" fmla="*/ 756920 h 1229484"/>
                <a:gd name="connsiteX2" fmla="*/ 1314104 w 1314104"/>
                <a:gd name="connsiteY2" fmla="*/ 538480 h 1229484"/>
                <a:gd name="connsiteX3" fmla="*/ 562264 w 1314104"/>
                <a:gd name="connsiteY3" fmla="*/ 0 h 1229484"/>
                <a:gd name="connsiteX4" fmla="*/ 458131 w 1314104"/>
                <a:gd name="connsiteY4" fmla="*/ 1229484 h 1229484"/>
                <a:gd name="connsiteX0" fmla="*/ 482042 w 1338015"/>
                <a:gd name="connsiteY0" fmla="*/ 1280442 h 1280442"/>
                <a:gd name="connsiteX1" fmla="*/ 941775 w 1338015"/>
                <a:gd name="connsiteY1" fmla="*/ 807878 h 1280442"/>
                <a:gd name="connsiteX2" fmla="*/ 1338015 w 1338015"/>
                <a:gd name="connsiteY2" fmla="*/ 589438 h 1280442"/>
                <a:gd name="connsiteX3" fmla="*/ 524297 w 1338015"/>
                <a:gd name="connsiteY3" fmla="*/ 0 h 1280442"/>
                <a:gd name="connsiteX4" fmla="*/ 482042 w 1338015"/>
                <a:gd name="connsiteY4" fmla="*/ 1280442 h 1280442"/>
                <a:gd name="connsiteX0" fmla="*/ 458164 w 1314137"/>
                <a:gd name="connsiteY0" fmla="*/ 1280442 h 1280442"/>
                <a:gd name="connsiteX1" fmla="*/ 917897 w 1314137"/>
                <a:gd name="connsiteY1" fmla="*/ 807878 h 1280442"/>
                <a:gd name="connsiteX2" fmla="*/ 1314137 w 1314137"/>
                <a:gd name="connsiteY2" fmla="*/ 589438 h 1280442"/>
                <a:gd name="connsiteX3" fmla="*/ 500419 w 1314137"/>
                <a:gd name="connsiteY3" fmla="*/ 0 h 1280442"/>
                <a:gd name="connsiteX4" fmla="*/ 458164 w 1314137"/>
                <a:gd name="connsiteY4" fmla="*/ 1280442 h 1280442"/>
                <a:gd name="connsiteX0" fmla="*/ 452651 w 1308624"/>
                <a:gd name="connsiteY0" fmla="*/ 1280442 h 1280442"/>
                <a:gd name="connsiteX1" fmla="*/ 912384 w 1308624"/>
                <a:gd name="connsiteY1" fmla="*/ 807878 h 1280442"/>
                <a:gd name="connsiteX2" fmla="*/ 1308624 w 1308624"/>
                <a:gd name="connsiteY2" fmla="*/ 589438 h 1280442"/>
                <a:gd name="connsiteX3" fmla="*/ 494906 w 1308624"/>
                <a:gd name="connsiteY3" fmla="*/ 0 h 1280442"/>
                <a:gd name="connsiteX4" fmla="*/ 452651 w 1308624"/>
                <a:gd name="connsiteY4" fmla="*/ 1280442 h 1280442"/>
                <a:gd name="connsiteX0" fmla="*/ 449956 w 1313208"/>
                <a:gd name="connsiteY0" fmla="*/ 1262242 h 1262242"/>
                <a:gd name="connsiteX1" fmla="*/ 916968 w 1313208"/>
                <a:gd name="connsiteY1" fmla="*/ 807878 h 1262242"/>
                <a:gd name="connsiteX2" fmla="*/ 1313208 w 1313208"/>
                <a:gd name="connsiteY2" fmla="*/ 589438 h 1262242"/>
                <a:gd name="connsiteX3" fmla="*/ 499490 w 1313208"/>
                <a:gd name="connsiteY3" fmla="*/ 0 h 1262242"/>
                <a:gd name="connsiteX4" fmla="*/ 449956 w 1313208"/>
                <a:gd name="connsiteY4" fmla="*/ 1262242 h 1262242"/>
                <a:gd name="connsiteX0" fmla="*/ 445290 w 1308542"/>
                <a:gd name="connsiteY0" fmla="*/ 1262242 h 1262242"/>
                <a:gd name="connsiteX1" fmla="*/ 912302 w 1308542"/>
                <a:gd name="connsiteY1" fmla="*/ 807878 h 1262242"/>
                <a:gd name="connsiteX2" fmla="*/ 1308542 w 1308542"/>
                <a:gd name="connsiteY2" fmla="*/ 589438 h 1262242"/>
                <a:gd name="connsiteX3" fmla="*/ 494824 w 1308542"/>
                <a:gd name="connsiteY3" fmla="*/ 0 h 1262242"/>
                <a:gd name="connsiteX4" fmla="*/ 445290 w 1308542"/>
                <a:gd name="connsiteY4" fmla="*/ 1262242 h 1262242"/>
                <a:gd name="connsiteX0" fmla="*/ 437522 w 1300774"/>
                <a:gd name="connsiteY0" fmla="*/ 1262242 h 1262242"/>
                <a:gd name="connsiteX1" fmla="*/ 904534 w 1300774"/>
                <a:gd name="connsiteY1" fmla="*/ 807878 h 1262242"/>
                <a:gd name="connsiteX2" fmla="*/ 1300774 w 1300774"/>
                <a:gd name="connsiteY2" fmla="*/ 589438 h 1262242"/>
                <a:gd name="connsiteX3" fmla="*/ 487056 w 1300774"/>
                <a:gd name="connsiteY3" fmla="*/ 0 h 1262242"/>
                <a:gd name="connsiteX4" fmla="*/ 437522 w 1300774"/>
                <a:gd name="connsiteY4" fmla="*/ 1262242 h 1262242"/>
                <a:gd name="connsiteX0" fmla="*/ 447177 w 1310429"/>
                <a:gd name="connsiteY0" fmla="*/ 1265881 h 1265881"/>
                <a:gd name="connsiteX1" fmla="*/ 914189 w 1310429"/>
                <a:gd name="connsiteY1" fmla="*/ 811517 h 1265881"/>
                <a:gd name="connsiteX2" fmla="*/ 1310429 w 1310429"/>
                <a:gd name="connsiteY2" fmla="*/ 593077 h 1265881"/>
                <a:gd name="connsiteX3" fmla="*/ 471232 w 1310429"/>
                <a:gd name="connsiteY3" fmla="*/ 0 h 1265881"/>
                <a:gd name="connsiteX4" fmla="*/ 447177 w 1310429"/>
                <a:gd name="connsiteY4" fmla="*/ 1265881 h 1265881"/>
                <a:gd name="connsiteX0" fmla="*/ 447177 w 1088398"/>
                <a:gd name="connsiteY0" fmla="*/ 1265881 h 1265881"/>
                <a:gd name="connsiteX1" fmla="*/ 914189 w 1088398"/>
                <a:gd name="connsiteY1" fmla="*/ 811517 h 1265881"/>
                <a:gd name="connsiteX2" fmla="*/ 1088398 w 1088398"/>
                <a:gd name="connsiteY2" fmla="*/ 127175 h 1265881"/>
                <a:gd name="connsiteX3" fmla="*/ 471232 w 1088398"/>
                <a:gd name="connsiteY3" fmla="*/ 0 h 1265881"/>
                <a:gd name="connsiteX4" fmla="*/ 447177 w 1088398"/>
                <a:gd name="connsiteY4" fmla="*/ 1265881 h 1265881"/>
                <a:gd name="connsiteX0" fmla="*/ 452848 w 1094069"/>
                <a:gd name="connsiteY0" fmla="*/ 1225842 h 1225842"/>
                <a:gd name="connsiteX1" fmla="*/ 919860 w 1094069"/>
                <a:gd name="connsiteY1" fmla="*/ 771478 h 1225842"/>
                <a:gd name="connsiteX2" fmla="*/ 1094069 w 1094069"/>
                <a:gd name="connsiteY2" fmla="*/ 87136 h 1225842"/>
                <a:gd name="connsiteX3" fmla="*/ 462343 w 1094069"/>
                <a:gd name="connsiteY3" fmla="*/ 0 h 1225842"/>
                <a:gd name="connsiteX4" fmla="*/ 452848 w 1094069"/>
                <a:gd name="connsiteY4" fmla="*/ 1225842 h 1225842"/>
                <a:gd name="connsiteX0" fmla="*/ 454283 w 1095504"/>
                <a:gd name="connsiteY0" fmla="*/ 1236762 h 1236762"/>
                <a:gd name="connsiteX1" fmla="*/ 921295 w 1095504"/>
                <a:gd name="connsiteY1" fmla="*/ 782398 h 1236762"/>
                <a:gd name="connsiteX2" fmla="*/ 1095504 w 1095504"/>
                <a:gd name="connsiteY2" fmla="*/ 98056 h 1236762"/>
                <a:gd name="connsiteX3" fmla="*/ 460138 w 1095504"/>
                <a:gd name="connsiteY3" fmla="*/ 0 h 1236762"/>
                <a:gd name="connsiteX4" fmla="*/ 454283 w 1095504"/>
                <a:gd name="connsiteY4" fmla="*/ 1236762 h 1236762"/>
                <a:gd name="connsiteX0" fmla="*/ 454283 w 1095504"/>
                <a:gd name="connsiteY0" fmla="*/ 1236762 h 1236762"/>
                <a:gd name="connsiteX1" fmla="*/ 921295 w 1095504"/>
                <a:gd name="connsiteY1" fmla="*/ 782398 h 1236762"/>
                <a:gd name="connsiteX2" fmla="*/ 1095504 w 1095504"/>
                <a:gd name="connsiteY2" fmla="*/ 79857 h 1236762"/>
                <a:gd name="connsiteX3" fmla="*/ 460138 w 1095504"/>
                <a:gd name="connsiteY3" fmla="*/ 0 h 1236762"/>
                <a:gd name="connsiteX4" fmla="*/ 454283 w 1095504"/>
                <a:gd name="connsiteY4" fmla="*/ 1236762 h 1236762"/>
                <a:gd name="connsiteX0" fmla="*/ 461567 w 1102788"/>
                <a:gd name="connsiteY0" fmla="*/ 1218562 h 1218562"/>
                <a:gd name="connsiteX1" fmla="*/ 928579 w 1102788"/>
                <a:gd name="connsiteY1" fmla="*/ 764198 h 1218562"/>
                <a:gd name="connsiteX2" fmla="*/ 1102788 w 1102788"/>
                <a:gd name="connsiteY2" fmla="*/ 61657 h 1218562"/>
                <a:gd name="connsiteX3" fmla="*/ 449222 w 1102788"/>
                <a:gd name="connsiteY3" fmla="*/ 0 h 1218562"/>
                <a:gd name="connsiteX4" fmla="*/ 461567 w 1102788"/>
                <a:gd name="connsiteY4" fmla="*/ 1218562 h 1218562"/>
                <a:gd name="connsiteX0" fmla="*/ 461567 w 928579"/>
                <a:gd name="connsiteY0" fmla="*/ 1218562 h 1218562"/>
                <a:gd name="connsiteX1" fmla="*/ 928579 w 928579"/>
                <a:gd name="connsiteY1" fmla="*/ 764198 h 1218562"/>
                <a:gd name="connsiteX2" fmla="*/ 902596 w 928579"/>
                <a:gd name="connsiteY2" fmla="*/ 36178 h 1218562"/>
                <a:gd name="connsiteX3" fmla="*/ 449222 w 928579"/>
                <a:gd name="connsiteY3" fmla="*/ 0 h 1218562"/>
                <a:gd name="connsiteX4" fmla="*/ 461567 w 928579"/>
                <a:gd name="connsiteY4" fmla="*/ 1218562 h 1218562"/>
                <a:gd name="connsiteX0" fmla="*/ 461567 w 1095508"/>
                <a:gd name="connsiteY0" fmla="*/ 1218562 h 1218562"/>
                <a:gd name="connsiteX1" fmla="*/ 928579 w 1095508"/>
                <a:gd name="connsiteY1" fmla="*/ 764198 h 1218562"/>
                <a:gd name="connsiteX2" fmla="*/ 1095508 w 1095508"/>
                <a:gd name="connsiteY2" fmla="*/ 50737 h 1218562"/>
                <a:gd name="connsiteX3" fmla="*/ 449222 w 1095508"/>
                <a:gd name="connsiteY3" fmla="*/ 0 h 1218562"/>
                <a:gd name="connsiteX4" fmla="*/ 461567 w 1095508"/>
                <a:gd name="connsiteY4" fmla="*/ 1218562 h 1218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508" h="1218562">
                  <a:moveTo>
                    <a:pt x="461567" y="1218562"/>
                  </a:moveTo>
                  <a:lnTo>
                    <a:pt x="928579" y="764198"/>
                  </a:lnTo>
                  <a:lnTo>
                    <a:pt x="1095508" y="50737"/>
                  </a:lnTo>
                  <a:lnTo>
                    <a:pt x="449222" y="0"/>
                  </a:lnTo>
                  <a:cubicBezTo>
                    <a:pt x="24592" y="189622"/>
                    <a:pt x="-307522" y="754147"/>
                    <a:pt x="461567" y="1218562"/>
                  </a:cubicBezTo>
                  <a:close/>
                </a:path>
              </a:pathLst>
            </a:custGeom>
            <a:solidFill>
              <a:srgbClr val="ADC886"/>
            </a:solidFill>
            <a:ln w="12700" cap="rnd" cmpd="sng" algn="ctr">
              <a:noFill/>
              <a:prstDash val="solid"/>
              <a:round/>
              <a:headEnd type="none" w="med" len="med"/>
              <a:tailEnd type="none" w="med" len="med"/>
            </a:ln>
            <a:effectLst/>
            <a:extLst>
              <a:ext uri="{91240B29-F687-4F45-9708-019B960494DF}">
                <a14:hiddenLine xmlns:a14="http://schemas.microsoft.com/office/drawing/2010/main" w="12700" cap="rnd"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1200" dirty="0">
                <a:solidFill>
                  <a:srgbClr val="FFFFFF"/>
                </a:solidFill>
                <a:latin typeface="Trebuchet MS"/>
                <a:ea typeface="Meiryo UI"/>
              </a:endParaRPr>
            </a:p>
          </p:txBody>
        </p:sp>
        <p:pic>
          <p:nvPicPr>
            <p:cNvPr id="332" name="Picture 331"/>
            <p:cNvPicPr>
              <a:picLocks noChangeAspect="1"/>
            </p:cNvPicPr>
            <p:nvPr/>
          </p:nvPicPr>
          <p:blipFill>
            <a:blip r:embed="rId3"/>
            <a:stretch>
              <a:fillRect/>
            </a:stretch>
          </p:blipFill>
          <p:spPr>
            <a:xfrm rot="21480000">
              <a:off x="2795152" y="4555035"/>
              <a:ext cx="161941" cy="107046"/>
            </a:xfrm>
            <a:prstGeom prst="rect">
              <a:avLst/>
            </a:prstGeom>
          </p:spPr>
        </p:pic>
        <p:sp>
          <p:nvSpPr>
            <p:cNvPr id="333" name="Oval 332"/>
            <p:cNvSpPr/>
            <p:nvPr/>
          </p:nvSpPr>
          <p:spPr bwMode="auto">
            <a:xfrm>
              <a:off x="3056371" y="3949731"/>
              <a:ext cx="247745" cy="95219"/>
            </a:xfrm>
            <a:prstGeom prst="ellipse">
              <a:avLst/>
            </a:prstGeom>
            <a:gradFill>
              <a:gsLst>
                <a:gs pos="11000">
                  <a:srgbClr val="9DC3E6"/>
                </a:gs>
                <a:gs pos="55000">
                  <a:schemeClr val="accent1">
                    <a:lumMod val="40000"/>
                    <a:lumOff val="60000"/>
                  </a:schemeClr>
                </a:gs>
                <a:gs pos="81000">
                  <a:srgbClr val="9DC3E6"/>
                </a:gs>
              </a:gsLst>
              <a:lin ang="5400000" scaled="1"/>
            </a:gradFill>
            <a:ln w="9525" algn="ctr">
              <a:noFill/>
              <a:miter lim="800000"/>
              <a:headEnd/>
              <a:tailEnd/>
            </a:ln>
          </p:spPr>
          <p:txBody>
            <a:bodyPr wrap="none" lIns="36000" tIns="10800" rIns="36000" bIns="10800" rtlCol="0" anchor="ctr"/>
            <a:lstStyle/>
            <a:p>
              <a:pPr marL="185738" indent="-185738" algn="ctr">
                <a:buClr>
                  <a:srgbClr val="969696"/>
                </a:buClr>
                <a:buSzPct val="80000"/>
                <a:defRPr/>
              </a:pPr>
              <a:endParaRPr kumimoji="0" lang="en-US" sz="1400" dirty="0">
                <a:solidFill>
                  <a:prstClr val="black"/>
                </a:solidFill>
                <a:latin typeface="Meiryo UI"/>
                <a:ea typeface="Meiryo UI"/>
              </a:endParaRPr>
            </a:p>
          </p:txBody>
        </p:sp>
        <p:pic>
          <p:nvPicPr>
            <p:cNvPr id="334" name="Picture 33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3263433" y="3975704"/>
              <a:ext cx="74200" cy="92972"/>
            </a:xfrm>
            <a:prstGeom prst="rect">
              <a:avLst/>
            </a:prstGeom>
          </p:spPr>
        </p:pic>
        <p:pic>
          <p:nvPicPr>
            <p:cNvPr id="335" name="Picture 33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3108821" y="3843414"/>
              <a:ext cx="74200" cy="92972"/>
            </a:xfrm>
            <a:prstGeom prst="rect">
              <a:avLst/>
            </a:prstGeom>
          </p:spPr>
        </p:pic>
        <p:pic>
          <p:nvPicPr>
            <p:cNvPr id="336" name="Picture 33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3221638" y="3851592"/>
              <a:ext cx="74200" cy="92972"/>
            </a:xfrm>
            <a:prstGeom prst="rect">
              <a:avLst/>
            </a:prstGeom>
          </p:spPr>
        </p:pic>
        <p:pic>
          <p:nvPicPr>
            <p:cNvPr id="337" name="Picture 33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3008477" y="3867275"/>
              <a:ext cx="74200" cy="92972"/>
            </a:xfrm>
            <a:prstGeom prst="rect">
              <a:avLst/>
            </a:prstGeom>
          </p:spPr>
        </p:pic>
        <p:pic>
          <p:nvPicPr>
            <p:cNvPr id="338" name="Picture 33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3167157" y="3991344"/>
              <a:ext cx="74200" cy="92972"/>
            </a:xfrm>
            <a:prstGeom prst="rect">
              <a:avLst/>
            </a:prstGeom>
          </p:spPr>
        </p:pic>
        <p:pic>
          <p:nvPicPr>
            <p:cNvPr id="339" name="Picture 33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784460" y="3949429"/>
              <a:ext cx="91855" cy="115094"/>
            </a:xfrm>
            <a:prstGeom prst="rect">
              <a:avLst/>
            </a:prstGeom>
          </p:spPr>
        </p:pic>
        <p:pic>
          <p:nvPicPr>
            <p:cNvPr id="340" name="Picture 33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3071639" y="3988906"/>
              <a:ext cx="74200" cy="92972"/>
            </a:xfrm>
            <a:prstGeom prst="rect">
              <a:avLst/>
            </a:prstGeom>
          </p:spPr>
        </p:pic>
        <p:pic>
          <p:nvPicPr>
            <p:cNvPr id="341" name="Picture 34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2979671" y="3982950"/>
              <a:ext cx="74200" cy="92972"/>
            </a:xfrm>
            <a:prstGeom prst="rect">
              <a:avLst/>
            </a:prstGeom>
          </p:spPr>
        </p:pic>
        <p:pic>
          <p:nvPicPr>
            <p:cNvPr id="342" name="Picture 34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2929443" y="3897242"/>
              <a:ext cx="74200" cy="92972"/>
            </a:xfrm>
            <a:prstGeom prst="rect">
              <a:avLst/>
            </a:prstGeom>
          </p:spPr>
        </p:pic>
        <p:pic>
          <p:nvPicPr>
            <p:cNvPr id="343" name="Picture 34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64579" y="3672371"/>
              <a:ext cx="77182" cy="96709"/>
            </a:xfrm>
            <a:prstGeom prst="rect">
              <a:avLst/>
            </a:prstGeom>
          </p:spPr>
        </p:pic>
        <p:pic>
          <p:nvPicPr>
            <p:cNvPr id="344" name="Picture 34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97760" y="4057236"/>
              <a:ext cx="137894" cy="99450"/>
            </a:xfrm>
            <a:prstGeom prst="rect">
              <a:avLst/>
            </a:prstGeom>
          </p:spPr>
        </p:pic>
        <p:sp>
          <p:nvSpPr>
            <p:cNvPr id="345" name="Freeform 344"/>
            <p:cNvSpPr/>
            <p:nvPr/>
          </p:nvSpPr>
          <p:spPr bwMode="auto">
            <a:xfrm>
              <a:off x="4941010" y="4473414"/>
              <a:ext cx="1439827" cy="731248"/>
            </a:xfrm>
            <a:custGeom>
              <a:avLst/>
              <a:gdLst>
                <a:gd name="connsiteX0" fmla="*/ 0 w 2113280"/>
                <a:gd name="connsiteY0" fmla="*/ 508000 h 599440"/>
                <a:gd name="connsiteX1" fmla="*/ 934720 w 2113280"/>
                <a:gd name="connsiteY1" fmla="*/ 0 h 599440"/>
                <a:gd name="connsiteX2" fmla="*/ 2113280 w 2113280"/>
                <a:gd name="connsiteY2" fmla="*/ 513080 h 599440"/>
                <a:gd name="connsiteX3" fmla="*/ 2011680 w 2113280"/>
                <a:gd name="connsiteY3" fmla="*/ 584200 h 599440"/>
                <a:gd name="connsiteX4" fmla="*/ 965200 w 2113280"/>
                <a:gd name="connsiteY4" fmla="*/ 441960 h 599440"/>
                <a:gd name="connsiteX5" fmla="*/ 264160 w 2113280"/>
                <a:gd name="connsiteY5" fmla="*/ 599440 h 599440"/>
                <a:gd name="connsiteX6" fmla="*/ 0 w 2113280"/>
                <a:gd name="connsiteY6" fmla="*/ 508000 h 599440"/>
                <a:gd name="connsiteX0" fmla="*/ 0 w 2113280"/>
                <a:gd name="connsiteY0" fmla="*/ 492630 h 584070"/>
                <a:gd name="connsiteX1" fmla="*/ 966028 w 2113280"/>
                <a:gd name="connsiteY1" fmla="*/ 0 h 584070"/>
                <a:gd name="connsiteX2" fmla="*/ 2113280 w 2113280"/>
                <a:gd name="connsiteY2" fmla="*/ 497710 h 584070"/>
                <a:gd name="connsiteX3" fmla="*/ 2011680 w 2113280"/>
                <a:gd name="connsiteY3" fmla="*/ 568830 h 584070"/>
                <a:gd name="connsiteX4" fmla="*/ 965200 w 2113280"/>
                <a:gd name="connsiteY4" fmla="*/ 426590 h 584070"/>
                <a:gd name="connsiteX5" fmla="*/ 264160 w 2113280"/>
                <a:gd name="connsiteY5" fmla="*/ 584070 h 584070"/>
                <a:gd name="connsiteX6" fmla="*/ 0 w 2113280"/>
                <a:gd name="connsiteY6" fmla="*/ 492630 h 584070"/>
                <a:gd name="connsiteX0" fmla="*/ 0 w 2050664"/>
                <a:gd name="connsiteY0" fmla="*/ 554111 h 584070"/>
                <a:gd name="connsiteX1" fmla="*/ 903412 w 2050664"/>
                <a:gd name="connsiteY1" fmla="*/ 0 h 584070"/>
                <a:gd name="connsiteX2" fmla="*/ 2050664 w 2050664"/>
                <a:gd name="connsiteY2" fmla="*/ 497710 h 584070"/>
                <a:gd name="connsiteX3" fmla="*/ 1949064 w 2050664"/>
                <a:gd name="connsiteY3" fmla="*/ 568830 h 584070"/>
                <a:gd name="connsiteX4" fmla="*/ 902584 w 2050664"/>
                <a:gd name="connsiteY4" fmla="*/ 426590 h 584070"/>
                <a:gd name="connsiteX5" fmla="*/ 201544 w 2050664"/>
                <a:gd name="connsiteY5" fmla="*/ 584070 h 584070"/>
                <a:gd name="connsiteX6" fmla="*/ 0 w 2050664"/>
                <a:gd name="connsiteY6" fmla="*/ 554111 h 584070"/>
                <a:gd name="connsiteX0" fmla="*/ 0 w 2050664"/>
                <a:gd name="connsiteY0" fmla="*/ 518247 h 548206"/>
                <a:gd name="connsiteX1" fmla="*/ 960810 w 2050664"/>
                <a:gd name="connsiteY1" fmla="*/ 0 h 548206"/>
                <a:gd name="connsiteX2" fmla="*/ 2050664 w 2050664"/>
                <a:gd name="connsiteY2" fmla="*/ 461846 h 548206"/>
                <a:gd name="connsiteX3" fmla="*/ 1949064 w 2050664"/>
                <a:gd name="connsiteY3" fmla="*/ 532966 h 548206"/>
                <a:gd name="connsiteX4" fmla="*/ 902584 w 2050664"/>
                <a:gd name="connsiteY4" fmla="*/ 390726 h 548206"/>
                <a:gd name="connsiteX5" fmla="*/ 201544 w 2050664"/>
                <a:gd name="connsiteY5" fmla="*/ 548206 h 548206"/>
                <a:gd name="connsiteX6" fmla="*/ 0 w 2050664"/>
                <a:gd name="connsiteY6" fmla="*/ 518247 h 548206"/>
                <a:gd name="connsiteX0" fmla="*/ 0 w 2050664"/>
                <a:gd name="connsiteY0" fmla="*/ 518247 h 532966"/>
                <a:gd name="connsiteX1" fmla="*/ 960810 w 2050664"/>
                <a:gd name="connsiteY1" fmla="*/ 0 h 532966"/>
                <a:gd name="connsiteX2" fmla="*/ 2050664 w 2050664"/>
                <a:gd name="connsiteY2" fmla="*/ 461846 h 532966"/>
                <a:gd name="connsiteX3" fmla="*/ 1949064 w 2050664"/>
                <a:gd name="connsiteY3" fmla="*/ 532966 h 532966"/>
                <a:gd name="connsiteX4" fmla="*/ 902584 w 2050664"/>
                <a:gd name="connsiteY4" fmla="*/ 390726 h 532966"/>
                <a:gd name="connsiteX5" fmla="*/ 0 w 2050664"/>
                <a:gd name="connsiteY5" fmla="*/ 518247 h 532966"/>
                <a:gd name="connsiteX0" fmla="*/ 0 w 2050664"/>
                <a:gd name="connsiteY0" fmla="*/ 518247 h 547873"/>
                <a:gd name="connsiteX1" fmla="*/ 960810 w 2050664"/>
                <a:gd name="connsiteY1" fmla="*/ 0 h 547873"/>
                <a:gd name="connsiteX2" fmla="*/ 2050664 w 2050664"/>
                <a:gd name="connsiteY2" fmla="*/ 461846 h 547873"/>
                <a:gd name="connsiteX3" fmla="*/ 1949064 w 2050664"/>
                <a:gd name="connsiteY3" fmla="*/ 532966 h 547873"/>
                <a:gd name="connsiteX4" fmla="*/ 902584 w 2050664"/>
                <a:gd name="connsiteY4" fmla="*/ 390726 h 547873"/>
                <a:gd name="connsiteX5" fmla="*/ 0 w 2050664"/>
                <a:gd name="connsiteY5" fmla="*/ 518247 h 547873"/>
                <a:gd name="connsiteX0" fmla="*/ 0 w 2050664"/>
                <a:gd name="connsiteY0" fmla="*/ 518247 h 548459"/>
                <a:gd name="connsiteX1" fmla="*/ 960810 w 2050664"/>
                <a:gd name="connsiteY1" fmla="*/ 0 h 548459"/>
                <a:gd name="connsiteX2" fmla="*/ 2050664 w 2050664"/>
                <a:gd name="connsiteY2" fmla="*/ 461846 h 548459"/>
                <a:gd name="connsiteX3" fmla="*/ 1949064 w 2050664"/>
                <a:gd name="connsiteY3" fmla="*/ 532966 h 548459"/>
                <a:gd name="connsiteX4" fmla="*/ 1033034 w 2050664"/>
                <a:gd name="connsiteY4" fmla="*/ 395850 h 548459"/>
                <a:gd name="connsiteX5" fmla="*/ 0 w 2050664"/>
                <a:gd name="connsiteY5" fmla="*/ 518247 h 548459"/>
                <a:gd name="connsiteX0" fmla="*/ 0 w 2050664"/>
                <a:gd name="connsiteY0" fmla="*/ 564358 h 594570"/>
                <a:gd name="connsiteX1" fmla="*/ 1044297 w 2050664"/>
                <a:gd name="connsiteY1" fmla="*/ 0 h 594570"/>
                <a:gd name="connsiteX2" fmla="*/ 2050664 w 2050664"/>
                <a:gd name="connsiteY2" fmla="*/ 507957 h 594570"/>
                <a:gd name="connsiteX3" fmla="*/ 1949064 w 2050664"/>
                <a:gd name="connsiteY3" fmla="*/ 579077 h 594570"/>
                <a:gd name="connsiteX4" fmla="*/ 1033034 w 2050664"/>
                <a:gd name="connsiteY4" fmla="*/ 441961 h 594570"/>
                <a:gd name="connsiteX5" fmla="*/ 0 w 2050664"/>
                <a:gd name="connsiteY5" fmla="*/ 564358 h 594570"/>
                <a:gd name="connsiteX0" fmla="*/ 0 w 2134152"/>
                <a:gd name="connsiteY0" fmla="*/ 564358 h 594570"/>
                <a:gd name="connsiteX1" fmla="*/ 1044297 w 2134152"/>
                <a:gd name="connsiteY1" fmla="*/ 0 h 594570"/>
                <a:gd name="connsiteX2" fmla="*/ 2134152 w 2134152"/>
                <a:gd name="connsiteY2" fmla="*/ 472093 h 594570"/>
                <a:gd name="connsiteX3" fmla="*/ 1949064 w 2134152"/>
                <a:gd name="connsiteY3" fmla="*/ 579077 h 594570"/>
                <a:gd name="connsiteX4" fmla="*/ 1033034 w 2134152"/>
                <a:gd name="connsiteY4" fmla="*/ 441961 h 594570"/>
                <a:gd name="connsiteX5" fmla="*/ 0 w 2134152"/>
                <a:gd name="connsiteY5" fmla="*/ 564358 h 594570"/>
                <a:gd name="connsiteX0" fmla="*/ 0 w 2134152"/>
                <a:gd name="connsiteY0" fmla="*/ 564358 h 594570"/>
                <a:gd name="connsiteX1" fmla="*/ 1044297 w 2134152"/>
                <a:gd name="connsiteY1" fmla="*/ 0 h 594570"/>
                <a:gd name="connsiteX2" fmla="*/ 2134152 w 2134152"/>
                <a:gd name="connsiteY2" fmla="*/ 472093 h 594570"/>
                <a:gd name="connsiteX3" fmla="*/ 2001244 w 2134152"/>
                <a:gd name="connsiteY3" fmla="*/ 594447 h 594570"/>
                <a:gd name="connsiteX4" fmla="*/ 1033034 w 2134152"/>
                <a:gd name="connsiteY4" fmla="*/ 441961 h 594570"/>
                <a:gd name="connsiteX5" fmla="*/ 0 w 2134152"/>
                <a:gd name="connsiteY5" fmla="*/ 564358 h 594570"/>
                <a:gd name="connsiteX0" fmla="*/ 0 w 2134152"/>
                <a:gd name="connsiteY0" fmla="*/ 564358 h 594570"/>
                <a:gd name="connsiteX1" fmla="*/ 1044297 w 2134152"/>
                <a:gd name="connsiteY1" fmla="*/ 0 h 594570"/>
                <a:gd name="connsiteX2" fmla="*/ 2134152 w 2134152"/>
                <a:gd name="connsiteY2" fmla="*/ 472093 h 594570"/>
                <a:gd name="connsiteX3" fmla="*/ 1578588 w 2134152"/>
                <a:gd name="connsiteY3" fmla="*/ 517596 h 594570"/>
                <a:gd name="connsiteX4" fmla="*/ 1033034 w 2134152"/>
                <a:gd name="connsiteY4" fmla="*/ 441961 h 594570"/>
                <a:gd name="connsiteX5" fmla="*/ 0 w 2134152"/>
                <a:gd name="connsiteY5" fmla="*/ 564358 h 594570"/>
                <a:gd name="connsiteX0" fmla="*/ 0 w 1857599"/>
                <a:gd name="connsiteY0" fmla="*/ 564358 h 594570"/>
                <a:gd name="connsiteX1" fmla="*/ 1044297 w 1857599"/>
                <a:gd name="connsiteY1" fmla="*/ 0 h 594570"/>
                <a:gd name="connsiteX2" fmla="*/ 1857599 w 1857599"/>
                <a:gd name="connsiteY2" fmla="*/ 364501 h 594570"/>
                <a:gd name="connsiteX3" fmla="*/ 1578588 w 1857599"/>
                <a:gd name="connsiteY3" fmla="*/ 517596 h 594570"/>
                <a:gd name="connsiteX4" fmla="*/ 1033034 w 1857599"/>
                <a:gd name="connsiteY4" fmla="*/ 441961 h 594570"/>
                <a:gd name="connsiteX5" fmla="*/ 0 w 1857599"/>
                <a:gd name="connsiteY5" fmla="*/ 564358 h 594570"/>
                <a:gd name="connsiteX0" fmla="*/ 0 w 1815855"/>
                <a:gd name="connsiteY0" fmla="*/ 564358 h 594570"/>
                <a:gd name="connsiteX1" fmla="*/ 1044297 w 1815855"/>
                <a:gd name="connsiteY1" fmla="*/ 0 h 594570"/>
                <a:gd name="connsiteX2" fmla="*/ 1815855 w 1815855"/>
                <a:gd name="connsiteY2" fmla="*/ 328637 h 594570"/>
                <a:gd name="connsiteX3" fmla="*/ 1578588 w 1815855"/>
                <a:gd name="connsiteY3" fmla="*/ 517596 h 594570"/>
                <a:gd name="connsiteX4" fmla="*/ 1033034 w 1815855"/>
                <a:gd name="connsiteY4" fmla="*/ 441961 h 594570"/>
                <a:gd name="connsiteX5" fmla="*/ 0 w 1815855"/>
                <a:gd name="connsiteY5" fmla="*/ 564358 h 594570"/>
                <a:gd name="connsiteX0" fmla="*/ 0 w 1174044"/>
                <a:gd name="connsiteY0" fmla="*/ 200595 h 517596"/>
                <a:gd name="connsiteX1" fmla="*/ 402486 w 1174044"/>
                <a:gd name="connsiteY1" fmla="*/ 0 h 517596"/>
                <a:gd name="connsiteX2" fmla="*/ 1174044 w 1174044"/>
                <a:gd name="connsiteY2" fmla="*/ 328637 h 517596"/>
                <a:gd name="connsiteX3" fmla="*/ 936777 w 1174044"/>
                <a:gd name="connsiteY3" fmla="*/ 517596 h 517596"/>
                <a:gd name="connsiteX4" fmla="*/ 391223 w 1174044"/>
                <a:gd name="connsiteY4" fmla="*/ 441961 h 517596"/>
                <a:gd name="connsiteX5" fmla="*/ 0 w 1174044"/>
                <a:gd name="connsiteY5" fmla="*/ 200595 h 517596"/>
                <a:gd name="connsiteX0" fmla="*/ 0 w 1174044"/>
                <a:gd name="connsiteY0" fmla="*/ 200595 h 517596"/>
                <a:gd name="connsiteX1" fmla="*/ 402486 w 1174044"/>
                <a:gd name="connsiteY1" fmla="*/ 0 h 517596"/>
                <a:gd name="connsiteX2" fmla="*/ 1174044 w 1174044"/>
                <a:gd name="connsiteY2" fmla="*/ 328637 h 517596"/>
                <a:gd name="connsiteX3" fmla="*/ 936777 w 1174044"/>
                <a:gd name="connsiteY3" fmla="*/ 517596 h 517596"/>
                <a:gd name="connsiteX4" fmla="*/ 0 w 1174044"/>
                <a:gd name="connsiteY4" fmla="*/ 200595 h 517596"/>
                <a:gd name="connsiteX0" fmla="*/ 0 w 1174044"/>
                <a:gd name="connsiteY0" fmla="*/ 200595 h 517596"/>
                <a:gd name="connsiteX1" fmla="*/ 402486 w 1174044"/>
                <a:gd name="connsiteY1" fmla="*/ 0 h 517596"/>
                <a:gd name="connsiteX2" fmla="*/ 1174044 w 1174044"/>
                <a:gd name="connsiteY2" fmla="*/ 328637 h 517596"/>
                <a:gd name="connsiteX3" fmla="*/ 936777 w 1174044"/>
                <a:gd name="connsiteY3" fmla="*/ 517596 h 517596"/>
                <a:gd name="connsiteX4" fmla="*/ 422656 w 1174044"/>
                <a:gd name="connsiteY4" fmla="*/ 404629 h 517596"/>
                <a:gd name="connsiteX5" fmla="*/ 0 w 1174044"/>
                <a:gd name="connsiteY5" fmla="*/ 200595 h 517596"/>
                <a:gd name="connsiteX0" fmla="*/ 0 w 1174044"/>
                <a:gd name="connsiteY0" fmla="*/ 221089 h 538090"/>
                <a:gd name="connsiteX1" fmla="*/ 496410 w 1174044"/>
                <a:gd name="connsiteY1" fmla="*/ 0 h 538090"/>
                <a:gd name="connsiteX2" fmla="*/ 1174044 w 1174044"/>
                <a:gd name="connsiteY2" fmla="*/ 349131 h 538090"/>
                <a:gd name="connsiteX3" fmla="*/ 936777 w 1174044"/>
                <a:gd name="connsiteY3" fmla="*/ 538090 h 538090"/>
                <a:gd name="connsiteX4" fmla="*/ 422656 w 1174044"/>
                <a:gd name="connsiteY4" fmla="*/ 425123 h 538090"/>
                <a:gd name="connsiteX5" fmla="*/ 0 w 1174044"/>
                <a:gd name="connsiteY5" fmla="*/ 221089 h 538090"/>
                <a:gd name="connsiteX0" fmla="*/ 0 w 1194916"/>
                <a:gd name="connsiteY0" fmla="*/ 221089 h 538090"/>
                <a:gd name="connsiteX1" fmla="*/ 496410 w 1194916"/>
                <a:gd name="connsiteY1" fmla="*/ 0 h 538090"/>
                <a:gd name="connsiteX2" fmla="*/ 1194916 w 1194916"/>
                <a:gd name="connsiteY2" fmla="*/ 344008 h 538090"/>
                <a:gd name="connsiteX3" fmla="*/ 936777 w 1194916"/>
                <a:gd name="connsiteY3" fmla="*/ 538090 h 538090"/>
                <a:gd name="connsiteX4" fmla="*/ 422656 w 1194916"/>
                <a:gd name="connsiteY4" fmla="*/ 425123 h 538090"/>
                <a:gd name="connsiteX5" fmla="*/ 0 w 1194916"/>
                <a:gd name="connsiteY5" fmla="*/ 221089 h 538090"/>
                <a:gd name="connsiteX0" fmla="*/ 0 w 1294058"/>
                <a:gd name="connsiteY0" fmla="*/ 221089 h 538090"/>
                <a:gd name="connsiteX1" fmla="*/ 496410 w 1294058"/>
                <a:gd name="connsiteY1" fmla="*/ 0 h 538090"/>
                <a:gd name="connsiteX2" fmla="*/ 1294058 w 1294058"/>
                <a:gd name="connsiteY2" fmla="*/ 313267 h 538090"/>
                <a:gd name="connsiteX3" fmla="*/ 936777 w 1294058"/>
                <a:gd name="connsiteY3" fmla="*/ 538090 h 538090"/>
                <a:gd name="connsiteX4" fmla="*/ 422656 w 1294058"/>
                <a:gd name="connsiteY4" fmla="*/ 425123 h 538090"/>
                <a:gd name="connsiteX5" fmla="*/ 0 w 1294058"/>
                <a:gd name="connsiteY5" fmla="*/ 221089 h 538090"/>
                <a:gd name="connsiteX0" fmla="*/ 0 w 1294058"/>
                <a:gd name="connsiteY0" fmla="*/ 256953 h 573954"/>
                <a:gd name="connsiteX1" fmla="*/ 543372 w 1294058"/>
                <a:gd name="connsiteY1" fmla="*/ 0 h 573954"/>
                <a:gd name="connsiteX2" fmla="*/ 1294058 w 1294058"/>
                <a:gd name="connsiteY2" fmla="*/ 349131 h 573954"/>
                <a:gd name="connsiteX3" fmla="*/ 936777 w 1294058"/>
                <a:gd name="connsiteY3" fmla="*/ 573954 h 573954"/>
                <a:gd name="connsiteX4" fmla="*/ 422656 w 1294058"/>
                <a:gd name="connsiteY4" fmla="*/ 460987 h 573954"/>
                <a:gd name="connsiteX5" fmla="*/ 0 w 1294058"/>
                <a:gd name="connsiteY5" fmla="*/ 256953 h 573954"/>
                <a:gd name="connsiteX0" fmla="*/ 0 w 1692836"/>
                <a:gd name="connsiteY0" fmla="*/ 625277 h 625277"/>
                <a:gd name="connsiteX1" fmla="*/ 942150 w 1692836"/>
                <a:gd name="connsiteY1" fmla="*/ 0 h 625277"/>
                <a:gd name="connsiteX2" fmla="*/ 1692836 w 1692836"/>
                <a:gd name="connsiteY2" fmla="*/ 349131 h 625277"/>
                <a:gd name="connsiteX3" fmla="*/ 1335555 w 1692836"/>
                <a:gd name="connsiteY3" fmla="*/ 573954 h 625277"/>
                <a:gd name="connsiteX4" fmla="*/ 821434 w 1692836"/>
                <a:gd name="connsiteY4" fmla="*/ 460987 h 625277"/>
                <a:gd name="connsiteX5" fmla="*/ 0 w 1692836"/>
                <a:gd name="connsiteY5" fmla="*/ 625277 h 625277"/>
                <a:gd name="connsiteX0" fmla="*/ 0 w 1692836"/>
                <a:gd name="connsiteY0" fmla="*/ 625277 h 625277"/>
                <a:gd name="connsiteX1" fmla="*/ 942150 w 1692836"/>
                <a:gd name="connsiteY1" fmla="*/ 0 h 625277"/>
                <a:gd name="connsiteX2" fmla="*/ 1692836 w 1692836"/>
                <a:gd name="connsiteY2" fmla="*/ 349131 h 625277"/>
                <a:gd name="connsiteX3" fmla="*/ 1335555 w 1692836"/>
                <a:gd name="connsiteY3" fmla="*/ 573954 h 625277"/>
                <a:gd name="connsiteX4" fmla="*/ 851849 w 1692836"/>
                <a:gd name="connsiteY4" fmla="*/ 540624 h 625277"/>
                <a:gd name="connsiteX5" fmla="*/ 0 w 1692836"/>
                <a:gd name="connsiteY5" fmla="*/ 625277 h 625277"/>
                <a:gd name="connsiteX0" fmla="*/ 0 w 1692836"/>
                <a:gd name="connsiteY0" fmla="*/ 625277 h 625277"/>
                <a:gd name="connsiteX1" fmla="*/ 942150 w 1692836"/>
                <a:gd name="connsiteY1" fmla="*/ 0 h 625277"/>
                <a:gd name="connsiteX2" fmla="*/ 1692836 w 1692836"/>
                <a:gd name="connsiteY2" fmla="*/ 349131 h 625277"/>
                <a:gd name="connsiteX3" fmla="*/ 1335555 w 1692836"/>
                <a:gd name="connsiteY3" fmla="*/ 573954 h 625277"/>
                <a:gd name="connsiteX4" fmla="*/ 868746 w 1692836"/>
                <a:gd name="connsiteY4" fmla="*/ 547260 h 625277"/>
                <a:gd name="connsiteX5" fmla="*/ 0 w 1692836"/>
                <a:gd name="connsiteY5" fmla="*/ 625277 h 625277"/>
                <a:gd name="connsiteX0" fmla="*/ 0 w 1692836"/>
                <a:gd name="connsiteY0" fmla="*/ 625277 h 625277"/>
                <a:gd name="connsiteX1" fmla="*/ 942150 w 1692836"/>
                <a:gd name="connsiteY1" fmla="*/ 0 h 625277"/>
                <a:gd name="connsiteX2" fmla="*/ 1692836 w 1692836"/>
                <a:gd name="connsiteY2" fmla="*/ 349131 h 625277"/>
                <a:gd name="connsiteX3" fmla="*/ 1335555 w 1692836"/>
                <a:gd name="connsiteY3" fmla="*/ 573954 h 625277"/>
                <a:gd name="connsiteX4" fmla="*/ 868746 w 1692836"/>
                <a:gd name="connsiteY4" fmla="*/ 547260 h 625277"/>
                <a:gd name="connsiteX5" fmla="*/ 0 w 1692836"/>
                <a:gd name="connsiteY5" fmla="*/ 625277 h 625277"/>
                <a:gd name="connsiteX0" fmla="*/ 0 w 1692836"/>
                <a:gd name="connsiteY0" fmla="*/ 625277 h 625277"/>
                <a:gd name="connsiteX1" fmla="*/ 942150 w 1692836"/>
                <a:gd name="connsiteY1" fmla="*/ 0 h 625277"/>
                <a:gd name="connsiteX2" fmla="*/ 1692836 w 1692836"/>
                <a:gd name="connsiteY2" fmla="*/ 349131 h 625277"/>
                <a:gd name="connsiteX3" fmla="*/ 1335555 w 1692836"/>
                <a:gd name="connsiteY3" fmla="*/ 573954 h 625277"/>
                <a:gd name="connsiteX4" fmla="*/ 868746 w 1692836"/>
                <a:gd name="connsiteY4" fmla="*/ 547260 h 625277"/>
                <a:gd name="connsiteX5" fmla="*/ 0 w 1692836"/>
                <a:gd name="connsiteY5" fmla="*/ 625277 h 625277"/>
                <a:gd name="connsiteX0" fmla="*/ 0 w 1692836"/>
                <a:gd name="connsiteY0" fmla="*/ 625277 h 625277"/>
                <a:gd name="connsiteX1" fmla="*/ 942150 w 1692836"/>
                <a:gd name="connsiteY1" fmla="*/ 0 h 625277"/>
                <a:gd name="connsiteX2" fmla="*/ 1692836 w 1692836"/>
                <a:gd name="connsiteY2" fmla="*/ 349131 h 625277"/>
                <a:gd name="connsiteX3" fmla="*/ 1335555 w 1692836"/>
                <a:gd name="connsiteY3" fmla="*/ 573954 h 625277"/>
                <a:gd name="connsiteX4" fmla="*/ 868746 w 1692836"/>
                <a:gd name="connsiteY4" fmla="*/ 547260 h 625277"/>
                <a:gd name="connsiteX5" fmla="*/ 0 w 1692836"/>
                <a:gd name="connsiteY5" fmla="*/ 625277 h 625277"/>
                <a:gd name="connsiteX0" fmla="*/ 0 w 1692836"/>
                <a:gd name="connsiteY0" fmla="*/ 625277 h 625277"/>
                <a:gd name="connsiteX1" fmla="*/ 942150 w 1692836"/>
                <a:gd name="connsiteY1" fmla="*/ 0 h 625277"/>
                <a:gd name="connsiteX2" fmla="*/ 1692836 w 1692836"/>
                <a:gd name="connsiteY2" fmla="*/ 349131 h 625277"/>
                <a:gd name="connsiteX3" fmla="*/ 1335555 w 1692836"/>
                <a:gd name="connsiteY3" fmla="*/ 573954 h 625277"/>
                <a:gd name="connsiteX4" fmla="*/ 878884 w 1692836"/>
                <a:gd name="connsiteY4" fmla="*/ 567169 h 625277"/>
                <a:gd name="connsiteX5" fmla="*/ 0 w 1692836"/>
                <a:gd name="connsiteY5" fmla="*/ 625277 h 625277"/>
                <a:gd name="connsiteX0" fmla="*/ 0 w 1740149"/>
                <a:gd name="connsiteY0" fmla="*/ 665096 h 665096"/>
                <a:gd name="connsiteX1" fmla="*/ 989463 w 1740149"/>
                <a:gd name="connsiteY1" fmla="*/ 0 h 665096"/>
                <a:gd name="connsiteX2" fmla="*/ 1740149 w 1740149"/>
                <a:gd name="connsiteY2" fmla="*/ 349131 h 665096"/>
                <a:gd name="connsiteX3" fmla="*/ 1382868 w 1740149"/>
                <a:gd name="connsiteY3" fmla="*/ 573954 h 665096"/>
                <a:gd name="connsiteX4" fmla="*/ 926197 w 1740149"/>
                <a:gd name="connsiteY4" fmla="*/ 567169 h 665096"/>
                <a:gd name="connsiteX5" fmla="*/ 0 w 1740149"/>
                <a:gd name="connsiteY5" fmla="*/ 665096 h 665096"/>
                <a:gd name="connsiteX0" fmla="*/ 0 w 1740149"/>
                <a:gd name="connsiteY0" fmla="*/ 665096 h 665096"/>
                <a:gd name="connsiteX1" fmla="*/ 989463 w 1740149"/>
                <a:gd name="connsiteY1" fmla="*/ 0 h 665096"/>
                <a:gd name="connsiteX2" fmla="*/ 1740149 w 1740149"/>
                <a:gd name="connsiteY2" fmla="*/ 349131 h 665096"/>
                <a:gd name="connsiteX3" fmla="*/ 1382868 w 1740149"/>
                <a:gd name="connsiteY3" fmla="*/ 573954 h 665096"/>
                <a:gd name="connsiteX4" fmla="*/ 926197 w 1740149"/>
                <a:gd name="connsiteY4" fmla="*/ 567169 h 665096"/>
                <a:gd name="connsiteX5" fmla="*/ 0 w 1740149"/>
                <a:gd name="connsiteY5" fmla="*/ 665096 h 665096"/>
                <a:gd name="connsiteX0" fmla="*/ 0 w 1662421"/>
                <a:gd name="connsiteY0" fmla="*/ 621959 h 621959"/>
                <a:gd name="connsiteX1" fmla="*/ 911735 w 1662421"/>
                <a:gd name="connsiteY1" fmla="*/ 0 h 621959"/>
                <a:gd name="connsiteX2" fmla="*/ 1662421 w 1662421"/>
                <a:gd name="connsiteY2" fmla="*/ 349131 h 621959"/>
                <a:gd name="connsiteX3" fmla="*/ 1305140 w 1662421"/>
                <a:gd name="connsiteY3" fmla="*/ 573954 h 621959"/>
                <a:gd name="connsiteX4" fmla="*/ 848469 w 1662421"/>
                <a:gd name="connsiteY4" fmla="*/ 567169 h 621959"/>
                <a:gd name="connsiteX5" fmla="*/ 0 w 1662421"/>
                <a:gd name="connsiteY5" fmla="*/ 621959 h 621959"/>
                <a:gd name="connsiteX0" fmla="*/ 0 w 1662421"/>
                <a:gd name="connsiteY0" fmla="*/ 621959 h 621959"/>
                <a:gd name="connsiteX1" fmla="*/ 911735 w 1662421"/>
                <a:gd name="connsiteY1" fmla="*/ 0 h 621959"/>
                <a:gd name="connsiteX2" fmla="*/ 1662421 w 1662421"/>
                <a:gd name="connsiteY2" fmla="*/ 349131 h 621959"/>
                <a:gd name="connsiteX3" fmla="*/ 1305140 w 1662421"/>
                <a:gd name="connsiteY3" fmla="*/ 573954 h 621959"/>
                <a:gd name="connsiteX4" fmla="*/ 632183 w 1662421"/>
                <a:gd name="connsiteY4" fmla="*/ 537305 h 621959"/>
                <a:gd name="connsiteX5" fmla="*/ 0 w 1662421"/>
                <a:gd name="connsiteY5" fmla="*/ 621959 h 621959"/>
                <a:gd name="connsiteX0" fmla="*/ 0 w 1662421"/>
                <a:gd name="connsiteY0" fmla="*/ 621959 h 621959"/>
                <a:gd name="connsiteX1" fmla="*/ 911735 w 1662421"/>
                <a:gd name="connsiteY1" fmla="*/ 0 h 621959"/>
                <a:gd name="connsiteX2" fmla="*/ 1662421 w 1662421"/>
                <a:gd name="connsiteY2" fmla="*/ 349131 h 621959"/>
                <a:gd name="connsiteX3" fmla="*/ 1305140 w 1662421"/>
                <a:gd name="connsiteY3" fmla="*/ 573954 h 621959"/>
                <a:gd name="connsiteX4" fmla="*/ 632183 w 1662421"/>
                <a:gd name="connsiteY4" fmla="*/ 520714 h 621959"/>
                <a:gd name="connsiteX5" fmla="*/ 0 w 1662421"/>
                <a:gd name="connsiteY5" fmla="*/ 621959 h 621959"/>
                <a:gd name="connsiteX0" fmla="*/ 0 w 1662421"/>
                <a:gd name="connsiteY0" fmla="*/ 621959 h 621959"/>
                <a:gd name="connsiteX1" fmla="*/ 911735 w 1662421"/>
                <a:gd name="connsiteY1" fmla="*/ 0 h 621959"/>
                <a:gd name="connsiteX2" fmla="*/ 1662421 w 1662421"/>
                <a:gd name="connsiteY2" fmla="*/ 349131 h 621959"/>
                <a:gd name="connsiteX3" fmla="*/ 1305140 w 1662421"/>
                <a:gd name="connsiteY3" fmla="*/ 573954 h 621959"/>
                <a:gd name="connsiteX4" fmla="*/ 628804 w 1662421"/>
                <a:gd name="connsiteY4" fmla="*/ 527351 h 621959"/>
                <a:gd name="connsiteX5" fmla="*/ 0 w 1662421"/>
                <a:gd name="connsiteY5" fmla="*/ 621959 h 621959"/>
                <a:gd name="connsiteX0" fmla="*/ 0 w 1662421"/>
                <a:gd name="connsiteY0" fmla="*/ 621959 h 621959"/>
                <a:gd name="connsiteX1" fmla="*/ 911735 w 1662421"/>
                <a:gd name="connsiteY1" fmla="*/ 0 h 621959"/>
                <a:gd name="connsiteX2" fmla="*/ 1662421 w 1662421"/>
                <a:gd name="connsiteY2" fmla="*/ 349131 h 621959"/>
                <a:gd name="connsiteX3" fmla="*/ 1301761 w 1662421"/>
                <a:gd name="connsiteY3" fmla="*/ 583909 h 621959"/>
                <a:gd name="connsiteX4" fmla="*/ 628804 w 1662421"/>
                <a:gd name="connsiteY4" fmla="*/ 527351 h 621959"/>
                <a:gd name="connsiteX5" fmla="*/ 0 w 1662421"/>
                <a:gd name="connsiteY5" fmla="*/ 621959 h 621959"/>
                <a:gd name="connsiteX0" fmla="*/ 0 w 1662421"/>
                <a:gd name="connsiteY0" fmla="*/ 621959 h 621959"/>
                <a:gd name="connsiteX1" fmla="*/ 911735 w 1662421"/>
                <a:gd name="connsiteY1" fmla="*/ 0 h 621959"/>
                <a:gd name="connsiteX2" fmla="*/ 1662421 w 1662421"/>
                <a:gd name="connsiteY2" fmla="*/ 349131 h 621959"/>
                <a:gd name="connsiteX3" fmla="*/ 1301761 w 1662421"/>
                <a:gd name="connsiteY3" fmla="*/ 583909 h 621959"/>
                <a:gd name="connsiteX4" fmla="*/ 628804 w 1662421"/>
                <a:gd name="connsiteY4" fmla="*/ 527351 h 621959"/>
                <a:gd name="connsiteX5" fmla="*/ 0 w 1662421"/>
                <a:gd name="connsiteY5" fmla="*/ 621959 h 621959"/>
                <a:gd name="connsiteX0" fmla="*/ 0 w 1662421"/>
                <a:gd name="connsiteY0" fmla="*/ 621959 h 621959"/>
                <a:gd name="connsiteX1" fmla="*/ 911735 w 1662421"/>
                <a:gd name="connsiteY1" fmla="*/ 0 h 621959"/>
                <a:gd name="connsiteX2" fmla="*/ 1662421 w 1662421"/>
                <a:gd name="connsiteY2" fmla="*/ 349131 h 621959"/>
                <a:gd name="connsiteX3" fmla="*/ 1301761 w 1662421"/>
                <a:gd name="connsiteY3" fmla="*/ 583909 h 621959"/>
                <a:gd name="connsiteX4" fmla="*/ 628804 w 1662421"/>
                <a:gd name="connsiteY4" fmla="*/ 527351 h 621959"/>
                <a:gd name="connsiteX5" fmla="*/ 0 w 1662421"/>
                <a:gd name="connsiteY5" fmla="*/ 621959 h 621959"/>
                <a:gd name="connsiteX0" fmla="*/ 0 w 1662421"/>
                <a:gd name="connsiteY0" fmla="*/ 621959 h 621959"/>
                <a:gd name="connsiteX1" fmla="*/ 911735 w 1662421"/>
                <a:gd name="connsiteY1" fmla="*/ 0 h 621959"/>
                <a:gd name="connsiteX2" fmla="*/ 1662421 w 1662421"/>
                <a:gd name="connsiteY2" fmla="*/ 349131 h 621959"/>
                <a:gd name="connsiteX3" fmla="*/ 1301761 w 1662421"/>
                <a:gd name="connsiteY3" fmla="*/ 583909 h 621959"/>
                <a:gd name="connsiteX4" fmla="*/ 628804 w 1662421"/>
                <a:gd name="connsiteY4" fmla="*/ 527351 h 621959"/>
                <a:gd name="connsiteX5" fmla="*/ 0 w 1662421"/>
                <a:gd name="connsiteY5" fmla="*/ 621959 h 621959"/>
                <a:gd name="connsiteX0" fmla="*/ 0 w 1653550"/>
                <a:gd name="connsiteY0" fmla="*/ 621959 h 621959"/>
                <a:gd name="connsiteX1" fmla="*/ 911735 w 1653550"/>
                <a:gd name="connsiteY1" fmla="*/ 0 h 621959"/>
                <a:gd name="connsiteX2" fmla="*/ 1653550 w 1653550"/>
                <a:gd name="connsiteY2" fmla="*/ 347886 h 621959"/>
                <a:gd name="connsiteX3" fmla="*/ 1301761 w 1653550"/>
                <a:gd name="connsiteY3" fmla="*/ 583909 h 621959"/>
                <a:gd name="connsiteX4" fmla="*/ 628804 w 1653550"/>
                <a:gd name="connsiteY4" fmla="*/ 527351 h 621959"/>
                <a:gd name="connsiteX5" fmla="*/ 0 w 1653550"/>
                <a:gd name="connsiteY5" fmla="*/ 621959 h 621959"/>
                <a:gd name="connsiteX0" fmla="*/ 0 w 1653550"/>
                <a:gd name="connsiteY0" fmla="*/ 609515 h 609515"/>
                <a:gd name="connsiteX1" fmla="*/ 905399 w 1653550"/>
                <a:gd name="connsiteY1" fmla="*/ 0 h 609515"/>
                <a:gd name="connsiteX2" fmla="*/ 1653550 w 1653550"/>
                <a:gd name="connsiteY2" fmla="*/ 335442 h 609515"/>
                <a:gd name="connsiteX3" fmla="*/ 1301761 w 1653550"/>
                <a:gd name="connsiteY3" fmla="*/ 571465 h 609515"/>
                <a:gd name="connsiteX4" fmla="*/ 628804 w 1653550"/>
                <a:gd name="connsiteY4" fmla="*/ 514907 h 609515"/>
                <a:gd name="connsiteX5" fmla="*/ 0 w 1653550"/>
                <a:gd name="connsiteY5" fmla="*/ 609515 h 609515"/>
                <a:gd name="connsiteX0" fmla="*/ 0 w 1657352"/>
                <a:gd name="connsiteY0" fmla="*/ 609515 h 609515"/>
                <a:gd name="connsiteX1" fmla="*/ 905399 w 1657352"/>
                <a:gd name="connsiteY1" fmla="*/ 0 h 609515"/>
                <a:gd name="connsiteX2" fmla="*/ 1657352 w 1657352"/>
                <a:gd name="connsiteY2" fmla="*/ 332953 h 609515"/>
                <a:gd name="connsiteX3" fmla="*/ 1301761 w 1657352"/>
                <a:gd name="connsiteY3" fmla="*/ 571465 h 609515"/>
                <a:gd name="connsiteX4" fmla="*/ 628804 w 1657352"/>
                <a:gd name="connsiteY4" fmla="*/ 514907 h 609515"/>
                <a:gd name="connsiteX5" fmla="*/ 0 w 1657352"/>
                <a:gd name="connsiteY5" fmla="*/ 609515 h 609515"/>
                <a:gd name="connsiteX0" fmla="*/ 57952 w 1715304"/>
                <a:gd name="connsiteY0" fmla="*/ 609515 h 652758"/>
                <a:gd name="connsiteX1" fmla="*/ 963351 w 1715304"/>
                <a:gd name="connsiteY1" fmla="*/ 0 h 652758"/>
                <a:gd name="connsiteX2" fmla="*/ 1715304 w 1715304"/>
                <a:gd name="connsiteY2" fmla="*/ 332953 h 652758"/>
                <a:gd name="connsiteX3" fmla="*/ 1359713 w 1715304"/>
                <a:gd name="connsiteY3" fmla="*/ 571465 h 652758"/>
                <a:gd name="connsiteX4" fmla="*/ 686756 w 1715304"/>
                <a:gd name="connsiteY4" fmla="*/ 514907 h 652758"/>
                <a:gd name="connsiteX5" fmla="*/ 156169 w 1715304"/>
                <a:gd name="connsiteY5" fmla="*/ 593200 h 652758"/>
                <a:gd name="connsiteX6" fmla="*/ 57952 w 1715304"/>
                <a:gd name="connsiteY6" fmla="*/ 609515 h 652758"/>
                <a:gd name="connsiteX0" fmla="*/ 47346 w 1704698"/>
                <a:gd name="connsiteY0" fmla="*/ 609515 h 659670"/>
                <a:gd name="connsiteX1" fmla="*/ 952745 w 1704698"/>
                <a:gd name="connsiteY1" fmla="*/ 0 h 659670"/>
                <a:gd name="connsiteX2" fmla="*/ 1704698 w 1704698"/>
                <a:gd name="connsiteY2" fmla="*/ 332953 h 659670"/>
                <a:gd name="connsiteX3" fmla="*/ 1349107 w 1704698"/>
                <a:gd name="connsiteY3" fmla="*/ 571465 h 659670"/>
                <a:gd name="connsiteX4" fmla="*/ 676150 w 1704698"/>
                <a:gd name="connsiteY4" fmla="*/ 514907 h 659670"/>
                <a:gd name="connsiteX5" fmla="*/ 201887 w 1704698"/>
                <a:gd name="connsiteY5" fmla="*/ 617534 h 659670"/>
                <a:gd name="connsiteX6" fmla="*/ 47346 w 1704698"/>
                <a:gd name="connsiteY6" fmla="*/ 609515 h 659670"/>
                <a:gd name="connsiteX0" fmla="*/ 0 w 1657352"/>
                <a:gd name="connsiteY0" fmla="*/ 609515 h 625830"/>
                <a:gd name="connsiteX1" fmla="*/ 905399 w 1657352"/>
                <a:gd name="connsiteY1" fmla="*/ 0 h 625830"/>
                <a:gd name="connsiteX2" fmla="*/ 1657352 w 1657352"/>
                <a:gd name="connsiteY2" fmla="*/ 332953 h 625830"/>
                <a:gd name="connsiteX3" fmla="*/ 1301761 w 1657352"/>
                <a:gd name="connsiteY3" fmla="*/ 571465 h 625830"/>
                <a:gd name="connsiteX4" fmla="*/ 628804 w 1657352"/>
                <a:gd name="connsiteY4" fmla="*/ 514907 h 625830"/>
                <a:gd name="connsiteX5" fmla="*/ 154541 w 1657352"/>
                <a:gd name="connsiteY5" fmla="*/ 617534 h 625830"/>
                <a:gd name="connsiteX6" fmla="*/ 0 w 1657352"/>
                <a:gd name="connsiteY6" fmla="*/ 609515 h 625830"/>
                <a:gd name="connsiteX0" fmla="*/ 0 w 1657352"/>
                <a:gd name="connsiteY0" fmla="*/ 609515 h 632530"/>
                <a:gd name="connsiteX1" fmla="*/ 905399 w 1657352"/>
                <a:gd name="connsiteY1" fmla="*/ 0 h 632530"/>
                <a:gd name="connsiteX2" fmla="*/ 1657352 w 1657352"/>
                <a:gd name="connsiteY2" fmla="*/ 332953 h 632530"/>
                <a:gd name="connsiteX3" fmla="*/ 1301761 w 1657352"/>
                <a:gd name="connsiteY3" fmla="*/ 571465 h 632530"/>
                <a:gd name="connsiteX4" fmla="*/ 628804 w 1657352"/>
                <a:gd name="connsiteY4" fmla="*/ 514907 h 632530"/>
                <a:gd name="connsiteX5" fmla="*/ 154541 w 1657352"/>
                <a:gd name="connsiteY5" fmla="*/ 626383 h 632530"/>
                <a:gd name="connsiteX6" fmla="*/ 0 w 1657352"/>
                <a:gd name="connsiteY6" fmla="*/ 609515 h 632530"/>
                <a:gd name="connsiteX0" fmla="*/ 0 w 1657352"/>
                <a:gd name="connsiteY0" fmla="*/ 609515 h 626383"/>
                <a:gd name="connsiteX1" fmla="*/ 905399 w 1657352"/>
                <a:gd name="connsiteY1" fmla="*/ 0 h 626383"/>
                <a:gd name="connsiteX2" fmla="*/ 1657352 w 1657352"/>
                <a:gd name="connsiteY2" fmla="*/ 332953 h 626383"/>
                <a:gd name="connsiteX3" fmla="*/ 1301761 w 1657352"/>
                <a:gd name="connsiteY3" fmla="*/ 571465 h 626383"/>
                <a:gd name="connsiteX4" fmla="*/ 628804 w 1657352"/>
                <a:gd name="connsiteY4" fmla="*/ 514907 h 626383"/>
                <a:gd name="connsiteX5" fmla="*/ 154541 w 1657352"/>
                <a:gd name="connsiteY5" fmla="*/ 626383 h 626383"/>
                <a:gd name="connsiteX6" fmla="*/ 0 w 1657352"/>
                <a:gd name="connsiteY6" fmla="*/ 609515 h 626383"/>
                <a:gd name="connsiteX0" fmla="*/ 0 w 1657352"/>
                <a:gd name="connsiteY0" fmla="*/ 609515 h 635232"/>
                <a:gd name="connsiteX1" fmla="*/ 905399 w 1657352"/>
                <a:gd name="connsiteY1" fmla="*/ 0 h 635232"/>
                <a:gd name="connsiteX2" fmla="*/ 1657352 w 1657352"/>
                <a:gd name="connsiteY2" fmla="*/ 332953 h 635232"/>
                <a:gd name="connsiteX3" fmla="*/ 1301761 w 1657352"/>
                <a:gd name="connsiteY3" fmla="*/ 571465 h 635232"/>
                <a:gd name="connsiteX4" fmla="*/ 628804 w 1657352"/>
                <a:gd name="connsiteY4" fmla="*/ 514907 h 635232"/>
                <a:gd name="connsiteX5" fmla="*/ 224383 w 1657352"/>
                <a:gd name="connsiteY5" fmla="*/ 635232 h 635232"/>
                <a:gd name="connsiteX6" fmla="*/ 0 w 1657352"/>
                <a:gd name="connsiteY6" fmla="*/ 609515 h 635232"/>
                <a:gd name="connsiteX0" fmla="*/ 0 w 1657352"/>
                <a:gd name="connsiteY0" fmla="*/ 609515 h 635232"/>
                <a:gd name="connsiteX1" fmla="*/ 905399 w 1657352"/>
                <a:gd name="connsiteY1" fmla="*/ 0 h 635232"/>
                <a:gd name="connsiteX2" fmla="*/ 1657352 w 1657352"/>
                <a:gd name="connsiteY2" fmla="*/ 332953 h 635232"/>
                <a:gd name="connsiteX3" fmla="*/ 1301761 w 1657352"/>
                <a:gd name="connsiteY3" fmla="*/ 571465 h 635232"/>
                <a:gd name="connsiteX4" fmla="*/ 628804 w 1657352"/>
                <a:gd name="connsiteY4" fmla="*/ 514907 h 635232"/>
                <a:gd name="connsiteX5" fmla="*/ 224383 w 1657352"/>
                <a:gd name="connsiteY5" fmla="*/ 635232 h 635232"/>
                <a:gd name="connsiteX6" fmla="*/ 0 w 1657352"/>
                <a:gd name="connsiteY6" fmla="*/ 609515 h 635232"/>
                <a:gd name="connsiteX0" fmla="*/ 0 w 1657352"/>
                <a:gd name="connsiteY0" fmla="*/ 609515 h 639656"/>
                <a:gd name="connsiteX1" fmla="*/ 905399 w 1657352"/>
                <a:gd name="connsiteY1" fmla="*/ 0 h 639656"/>
                <a:gd name="connsiteX2" fmla="*/ 1657352 w 1657352"/>
                <a:gd name="connsiteY2" fmla="*/ 332953 h 639656"/>
                <a:gd name="connsiteX3" fmla="*/ 1301761 w 1657352"/>
                <a:gd name="connsiteY3" fmla="*/ 571465 h 639656"/>
                <a:gd name="connsiteX4" fmla="*/ 628804 w 1657352"/>
                <a:gd name="connsiteY4" fmla="*/ 514907 h 639656"/>
                <a:gd name="connsiteX5" fmla="*/ 226636 w 1657352"/>
                <a:gd name="connsiteY5" fmla="*/ 639656 h 639656"/>
                <a:gd name="connsiteX6" fmla="*/ 0 w 1657352"/>
                <a:gd name="connsiteY6" fmla="*/ 609515 h 639656"/>
                <a:gd name="connsiteX0" fmla="*/ 0 w 1657352"/>
                <a:gd name="connsiteY0" fmla="*/ 609515 h 639656"/>
                <a:gd name="connsiteX1" fmla="*/ 905399 w 1657352"/>
                <a:gd name="connsiteY1" fmla="*/ 0 h 639656"/>
                <a:gd name="connsiteX2" fmla="*/ 1657352 w 1657352"/>
                <a:gd name="connsiteY2" fmla="*/ 332953 h 639656"/>
                <a:gd name="connsiteX3" fmla="*/ 1301761 w 1657352"/>
                <a:gd name="connsiteY3" fmla="*/ 571465 h 639656"/>
                <a:gd name="connsiteX4" fmla="*/ 836772 w 1657352"/>
                <a:gd name="connsiteY4" fmla="*/ 320918 h 639656"/>
                <a:gd name="connsiteX5" fmla="*/ 226636 w 1657352"/>
                <a:gd name="connsiteY5" fmla="*/ 639656 h 639656"/>
                <a:gd name="connsiteX6" fmla="*/ 0 w 1657352"/>
                <a:gd name="connsiteY6" fmla="*/ 609515 h 639656"/>
                <a:gd name="connsiteX0" fmla="*/ 0 w 1657352"/>
                <a:gd name="connsiteY0" fmla="*/ 609515 h 639656"/>
                <a:gd name="connsiteX1" fmla="*/ 905399 w 1657352"/>
                <a:gd name="connsiteY1" fmla="*/ 0 h 639656"/>
                <a:gd name="connsiteX2" fmla="*/ 1657352 w 1657352"/>
                <a:gd name="connsiteY2" fmla="*/ 332953 h 639656"/>
                <a:gd name="connsiteX3" fmla="*/ 1441100 w 1657352"/>
                <a:gd name="connsiteY3" fmla="*/ 491827 h 639656"/>
                <a:gd name="connsiteX4" fmla="*/ 836772 w 1657352"/>
                <a:gd name="connsiteY4" fmla="*/ 320918 h 639656"/>
                <a:gd name="connsiteX5" fmla="*/ 226636 w 1657352"/>
                <a:gd name="connsiteY5" fmla="*/ 639656 h 639656"/>
                <a:gd name="connsiteX6" fmla="*/ 0 w 1657352"/>
                <a:gd name="connsiteY6" fmla="*/ 609515 h 639656"/>
                <a:gd name="connsiteX0" fmla="*/ 0 w 1657352"/>
                <a:gd name="connsiteY0" fmla="*/ 609515 h 639656"/>
                <a:gd name="connsiteX1" fmla="*/ 905399 w 1657352"/>
                <a:gd name="connsiteY1" fmla="*/ 0 h 639656"/>
                <a:gd name="connsiteX2" fmla="*/ 1657352 w 1657352"/>
                <a:gd name="connsiteY2" fmla="*/ 332953 h 639656"/>
                <a:gd name="connsiteX3" fmla="*/ 1441100 w 1657352"/>
                <a:gd name="connsiteY3" fmla="*/ 491827 h 639656"/>
                <a:gd name="connsiteX4" fmla="*/ 836772 w 1657352"/>
                <a:gd name="connsiteY4" fmla="*/ 320918 h 639656"/>
                <a:gd name="connsiteX5" fmla="*/ 226636 w 1657352"/>
                <a:gd name="connsiteY5" fmla="*/ 639656 h 639656"/>
                <a:gd name="connsiteX6" fmla="*/ 0 w 1657352"/>
                <a:gd name="connsiteY6" fmla="*/ 609515 h 639656"/>
                <a:gd name="connsiteX0" fmla="*/ 0 w 1430716"/>
                <a:gd name="connsiteY0" fmla="*/ 639656 h 639656"/>
                <a:gd name="connsiteX1" fmla="*/ 678763 w 1430716"/>
                <a:gd name="connsiteY1" fmla="*/ 0 h 639656"/>
                <a:gd name="connsiteX2" fmla="*/ 1430716 w 1430716"/>
                <a:gd name="connsiteY2" fmla="*/ 332953 h 639656"/>
                <a:gd name="connsiteX3" fmla="*/ 1214464 w 1430716"/>
                <a:gd name="connsiteY3" fmla="*/ 491827 h 639656"/>
                <a:gd name="connsiteX4" fmla="*/ 610136 w 1430716"/>
                <a:gd name="connsiteY4" fmla="*/ 320918 h 639656"/>
                <a:gd name="connsiteX5" fmla="*/ 0 w 1430716"/>
                <a:gd name="connsiteY5" fmla="*/ 639656 h 639656"/>
                <a:gd name="connsiteX0" fmla="*/ 53802 w 874382"/>
                <a:gd name="connsiteY0" fmla="*/ 320930 h 491839"/>
                <a:gd name="connsiteX1" fmla="*/ 122429 w 874382"/>
                <a:gd name="connsiteY1" fmla="*/ 12 h 491839"/>
                <a:gd name="connsiteX2" fmla="*/ 874382 w 874382"/>
                <a:gd name="connsiteY2" fmla="*/ 332965 h 491839"/>
                <a:gd name="connsiteX3" fmla="*/ 658130 w 874382"/>
                <a:gd name="connsiteY3" fmla="*/ 491839 h 491839"/>
                <a:gd name="connsiteX4" fmla="*/ 53802 w 874382"/>
                <a:gd name="connsiteY4" fmla="*/ 320930 h 491839"/>
                <a:gd name="connsiteX0" fmla="*/ 15062 w 1145514"/>
                <a:gd name="connsiteY0" fmla="*/ 186174 h 491855"/>
                <a:gd name="connsiteX1" fmla="*/ 393561 w 1145514"/>
                <a:gd name="connsiteY1" fmla="*/ 28 h 491855"/>
                <a:gd name="connsiteX2" fmla="*/ 1145514 w 1145514"/>
                <a:gd name="connsiteY2" fmla="*/ 332981 h 491855"/>
                <a:gd name="connsiteX3" fmla="*/ 929262 w 1145514"/>
                <a:gd name="connsiteY3" fmla="*/ 491855 h 491855"/>
                <a:gd name="connsiteX4" fmla="*/ 15062 w 1145514"/>
                <a:gd name="connsiteY4" fmla="*/ 186174 h 491855"/>
                <a:gd name="connsiteX0" fmla="*/ 15062 w 1145514"/>
                <a:gd name="connsiteY0" fmla="*/ 186174 h 391797"/>
                <a:gd name="connsiteX1" fmla="*/ 393561 w 1145514"/>
                <a:gd name="connsiteY1" fmla="*/ 28 h 391797"/>
                <a:gd name="connsiteX2" fmla="*/ 1145514 w 1145514"/>
                <a:gd name="connsiteY2" fmla="*/ 332981 h 391797"/>
                <a:gd name="connsiteX3" fmla="*/ 1037405 w 1145514"/>
                <a:gd name="connsiteY3" fmla="*/ 391797 h 391797"/>
                <a:gd name="connsiteX4" fmla="*/ 15062 w 1145514"/>
                <a:gd name="connsiteY4" fmla="*/ 186174 h 391797"/>
                <a:gd name="connsiteX0" fmla="*/ 15062 w 1145514"/>
                <a:gd name="connsiteY0" fmla="*/ 186174 h 391797"/>
                <a:gd name="connsiteX1" fmla="*/ 393561 w 1145514"/>
                <a:gd name="connsiteY1" fmla="*/ 28 h 391797"/>
                <a:gd name="connsiteX2" fmla="*/ 1145514 w 1145514"/>
                <a:gd name="connsiteY2" fmla="*/ 316645 h 391797"/>
                <a:gd name="connsiteX3" fmla="*/ 1037405 w 1145514"/>
                <a:gd name="connsiteY3" fmla="*/ 391797 h 391797"/>
                <a:gd name="connsiteX4" fmla="*/ 15062 w 1145514"/>
                <a:gd name="connsiteY4" fmla="*/ 186174 h 391797"/>
                <a:gd name="connsiteX0" fmla="*/ 14049 w 1173616"/>
                <a:gd name="connsiteY0" fmla="*/ 194341 h 391796"/>
                <a:gd name="connsiteX1" fmla="*/ 421663 w 1173616"/>
                <a:gd name="connsiteY1" fmla="*/ 27 h 391796"/>
                <a:gd name="connsiteX2" fmla="*/ 1173616 w 1173616"/>
                <a:gd name="connsiteY2" fmla="*/ 316644 h 391796"/>
                <a:gd name="connsiteX3" fmla="*/ 1065507 w 1173616"/>
                <a:gd name="connsiteY3" fmla="*/ 391796 h 391796"/>
                <a:gd name="connsiteX4" fmla="*/ 14049 w 1173616"/>
                <a:gd name="connsiteY4" fmla="*/ 194341 h 391796"/>
                <a:gd name="connsiteX0" fmla="*/ 0 w 1159567"/>
                <a:gd name="connsiteY0" fmla="*/ 194339 h 391794"/>
                <a:gd name="connsiteX1" fmla="*/ 407614 w 1159567"/>
                <a:gd name="connsiteY1" fmla="*/ 25 h 391794"/>
                <a:gd name="connsiteX2" fmla="*/ 1159567 w 1159567"/>
                <a:gd name="connsiteY2" fmla="*/ 316642 h 391794"/>
                <a:gd name="connsiteX3" fmla="*/ 1051458 w 1159567"/>
                <a:gd name="connsiteY3" fmla="*/ 391794 h 391794"/>
                <a:gd name="connsiteX4" fmla="*/ 0 w 1159567"/>
                <a:gd name="connsiteY4" fmla="*/ 194339 h 391794"/>
                <a:gd name="connsiteX0" fmla="*/ 0 w 1159567"/>
                <a:gd name="connsiteY0" fmla="*/ 194314 h 391769"/>
                <a:gd name="connsiteX1" fmla="*/ 407614 w 1159567"/>
                <a:gd name="connsiteY1" fmla="*/ 0 h 391769"/>
                <a:gd name="connsiteX2" fmla="*/ 1159567 w 1159567"/>
                <a:gd name="connsiteY2" fmla="*/ 316617 h 391769"/>
                <a:gd name="connsiteX3" fmla="*/ 1051458 w 1159567"/>
                <a:gd name="connsiteY3" fmla="*/ 391769 h 391769"/>
                <a:gd name="connsiteX4" fmla="*/ 0 w 1159567"/>
                <a:gd name="connsiteY4" fmla="*/ 194314 h 391769"/>
                <a:gd name="connsiteX0" fmla="*/ 0 w 1159567"/>
                <a:gd name="connsiteY0" fmla="*/ 464470 h 661925"/>
                <a:gd name="connsiteX1" fmla="*/ 846671 w 1159567"/>
                <a:gd name="connsiteY1" fmla="*/ 0 h 661925"/>
                <a:gd name="connsiteX2" fmla="*/ 1159567 w 1159567"/>
                <a:gd name="connsiteY2" fmla="*/ 586773 h 661925"/>
                <a:gd name="connsiteX3" fmla="*/ 1051458 w 1159567"/>
                <a:gd name="connsiteY3" fmla="*/ 661925 h 661925"/>
                <a:gd name="connsiteX4" fmla="*/ 0 w 1159567"/>
                <a:gd name="connsiteY4" fmla="*/ 464470 h 661925"/>
                <a:gd name="connsiteX0" fmla="*/ 0 w 1327384"/>
                <a:gd name="connsiteY0" fmla="*/ 464470 h 661925"/>
                <a:gd name="connsiteX1" fmla="*/ 846671 w 1327384"/>
                <a:gd name="connsiteY1" fmla="*/ 0 h 661925"/>
                <a:gd name="connsiteX2" fmla="*/ 1327384 w 1327384"/>
                <a:gd name="connsiteY2" fmla="*/ 437324 h 661925"/>
                <a:gd name="connsiteX3" fmla="*/ 1051458 w 1327384"/>
                <a:gd name="connsiteY3" fmla="*/ 661925 h 661925"/>
                <a:gd name="connsiteX4" fmla="*/ 0 w 1327384"/>
                <a:gd name="connsiteY4" fmla="*/ 464470 h 6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7384" h="661925">
                  <a:moveTo>
                    <a:pt x="0" y="464470"/>
                  </a:moveTo>
                  <a:cubicBezTo>
                    <a:pt x="181075" y="388625"/>
                    <a:pt x="730705" y="53128"/>
                    <a:pt x="846671" y="0"/>
                  </a:cubicBezTo>
                  <a:lnTo>
                    <a:pt x="1327384" y="437324"/>
                  </a:lnTo>
                  <a:lnTo>
                    <a:pt x="1051458" y="661925"/>
                  </a:lnTo>
                  <a:cubicBezTo>
                    <a:pt x="753981" y="516755"/>
                    <a:pt x="201293" y="464405"/>
                    <a:pt x="0" y="464470"/>
                  </a:cubicBezTo>
                  <a:close/>
                </a:path>
              </a:pathLst>
            </a:custGeom>
            <a:solidFill>
              <a:srgbClr val="ADC886"/>
            </a:solidFill>
            <a:ln w="12700" cap="rnd" cmpd="sng" algn="ctr">
              <a:noFill/>
              <a:prstDash val="solid"/>
              <a:round/>
              <a:headEnd type="none" w="med" len="med"/>
              <a:tailEnd type="none" w="med" len="med"/>
            </a:ln>
            <a:effectLst/>
            <a:extLst>
              <a:ext uri="{91240B29-F687-4F45-9708-019B960494DF}">
                <a14:hiddenLine xmlns:a14="http://schemas.microsoft.com/office/drawing/2010/main" w="12700" cap="rnd"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1200" dirty="0">
                <a:solidFill>
                  <a:srgbClr val="FFFFFF"/>
                </a:solidFill>
                <a:latin typeface="Trebuchet MS"/>
                <a:ea typeface="Meiryo UI"/>
              </a:endParaRPr>
            </a:p>
          </p:txBody>
        </p:sp>
        <p:sp>
          <p:nvSpPr>
            <p:cNvPr id="346" name="Freeform 345"/>
            <p:cNvSpPr/>
            <p:nvPr/>
          </p:nvSpPr>
          <p:spPr bwMode="auto">
            <a:xfrm>
              <a:off x="5381288" y="4208200"/>
              <a:ext cx="1156165" cy="931320"/>
            </a:xfrm>
            <a:custGeom>
              <a:avLst/>
              <a:gdLst>
                <a:gd name="connsiteX0" fmla="*/ 584200 w 701040"/>
                <a:gd name="connsiteY0" fmla="*/ 0 h 609600"/>
                <a:gd name="connsiteX1" fmla="*/ 0 w 701040"/>
                <a:gd name="connsiteY1" fmla="*/ 518160 h 609600"/>
                <a:gd name="connsiteX2" fmla="*/ 447040 w 701040"/>
                <a:gd name="connsiteY2" fmla="*/ 609600 h 609600"/>
                <a:gd name="connsiteX3" fmla="*/ 701040 w 701040"/>
                <a:gd name="connsiteY3" fmla="*/ 396240 h 609600"/>
                <a:gd name="connsiteX4" fmla="*/ 584200 w 701040"/>
                <a:gd name="connsiteY4" fmla="*/ 0 h 609600"/>
                <a:gd name="connsiteX0" fmla="*/ 650240 w 701040"/>
                <a:gd name="connsiteY0" fmla="*/ 0 h 553720"/>
                <a:gd name="connsiteX1" fmla="*/ 0 w 701040"/>
                <a:gd name="connsiteY1" fmla="*/ 462280 h 553720"/>
                <a:gd name="connsiteX2" fmla="*/ 447040 w 701040"/>
                <a:gd name="connsiteY2" fmla="*/ 553720 h 553720"/>
                <a:gd name="connsiteX3" fmla="*/ 701040 w 701040"/>
                <a:gd name="connsiteY3" fmla="*/ 340360 h 553720"/>
                <a:gd name="connsiteX4" fmla="*/ 650240 w 701040"/>
                <a:gd name="connsiteY4" fmla="*/ 0 h 553720"/>
                <a:gd name="connsiteX0" fmla="*/ 614680 w 665480"/>
                <a:gd name="connsiteY0" fmla="*/ 0 h 553720"/>
                <a:gd name="connsiteX1" fmla="*/ 0 w 665480"/>
                <a:gd name="connsiteY1" fmla="*/ 482600 h 553720"/>
                <a:gd name="connsiteX2" fmla="*/ 411480 w 665480"/>
                <a:gd name="connsiteY2" fmla="*/ 553720 h 553720"/>
                <a:gd name="connsiteX3" fmla="*/ 665480 w 665480"/>
                <a:gd name="connsiteY3" fmla="*/ 340360 h 553720"/>
                <a:gd name="connsiteX4" fmla="*/ 614680 w 665480"/>
                <a:gd name="connsiteY4" fmla="*/ 0 h 553720"/>
                <a:gd name="connsiteX0" fmla="*/ 635000 w 665480"/>
                <a:gd name="connsiteY0" fmla="*/ 0 h 543560"/>
                <a:gd name="connsiteX1" fmla="*/ 0 w 665480"/>
                <a:gd name="connsiteY1" fmla="*/ 472440 h 543560"/>
                <a:gd name="connsiteX2" fmla="*/ 411480 w 665480"/>
                <a:gd name="connsiteY2" fmla="*/ 543560 h 543560"/>
                <a:gd name="connsiteX3" fmla="*/ 665480 w 665480"/>
                <a:gd name="connsiteY3" fmla="*/ 330200 h 543560"/>
                <a:gd name="connsiteX4" fmla="*/ 635000 w 665480"/>
                <a:gd name="connsiteY4" fmla="*/ 0 h 543560"/>
                <a:gd name="connsiteX0" fmla="*/ 635000 w 692344"/>
                <a:gd name="connsiteY0" fmla="*/ 0 h 543560"/>
                <a:gd name="connsiteX1" fmla="*/ 0 w 692344"/>
                <a:gd name="connsiteY1" fmla="*/ 472440 h 543560"/>
                <a:gd name="connsiteX2" fmla="*/ 411480 w 692344"/>
                <a:gd name="connsiteY2" fmla="*/ 543560 h 543560"/>
                <a:gd name="connsiteX3" fmla="*/ 665480 w 692344"/>
                <a:gd name="connsiteY3" fmla="*/ 330200 h 543560"/>
                <a:gd name="connsiteX4" fmla="*/ 635000 w 692344"/>
                <a:gd name="connsiteY4" fmla="*/ 0 h 543560"/>
                <a:gd name="connsiteX0" fmla="*/ 635000 w 707434"/>
                <a:gd name="connsiteY0" fmla="*/ 0 h 543560"/>
                <a:gd name="connsiteX1" fmla="*/ 0 w 707434"/>
                <a:gd name="connsiteY1" fmla="*/ 472440 h 543560"/>
                <a:gd name="connsiteX2" fmla="*/ 411480 w 707434"/>
                <a:gd name="connsiteY2" fmla="*/ 543560 h 543560"/>
                <a:gd name="connsiteX3" fmla="*/ 665480 w 707434"/>
                <a:gd name="connsiteY3" fmla="*/ 330200 h 543560"/>
                <a:gd name="connsiteX4" fmla="*/ 635000 w 707434"/>
                <a:gd name="connsiteY4" fmla="*/ 0 h 543560"/>
                <a:gd name="connsiteX0" fmla="*/ 635000 w 707434"/>
                <a:gd name="connsiteY0" fmla="*/ 0 h 543560"/>
                <a:gd name="connsiteX1" fmla="*/ 0 w 707434"/>
                <a:gd name="connsiteY1" fmla="*/ 472440 h 543560"/>
                <a:gd name="connsiteX2" fmla="*/ 411480 w 707434"/>
                <a:gd name="connsiteY2" fmla="*/ 543560 h 543560"/>
                <a:gd name="connsiteX3" fmla="*/ 665480 w 707434"/>
                <a:gd name="connsiteY3" fmla="*/ 330200 h 543560"/>
                <a:gd name="connsiteX4" fmla="*/ 635000 w 707434"/>
                <a:gd name="connsiteY4" fmla="*/ 0 h 543560"/>
                <a:gd name="connsiteX0" fmla="*/ 635000 w 707434"/>
                <a:gd name="connsiteY0" fmla="*/ 0 h 543560"/>
                <a:gd name="connsiteX1" fmla="*/ 537942 w 707434"/>
                <a:gd name="connsiteY1" fmla="*/ 74380 h 543560"/>
                <a:gd name="connsiteX2" fmla="*/ 0 w 707434"/>
                <a:gd name="connsiteY2" fmla="*/ 472440 h 543560"/>
                <a:gd name="connsiteX3" fmla="*/ 411480 w 707434"/>
                <a:gd name="connsiteY3" fmla="*/ 543560 h 543560"/>
                <a:gd name="connsiteX4" fmla="*/ 665480 w 707434"/>
                <a:gd name="connsiteY4" fmla="*/ 330200 h 543560"/>
                <a:gd name="connsiteX5" fmla="*/ 635000 w 707434"/>
                <a:gd name="connsiteY5" fmla="*/ 0 h 543560"/>
                <a:gd name="connsiteX0" fmla="*/ 635000 w 707434"/>
                <a:gd name="connsiteY0" fmla="*/ 42912 h 586472"/>
                <a:gd name="connsiteX1" fmla="*/ 360328 w 707434"/>
                <a:gd name="connsiteY1" fmla="*/ 0 h 586472"/>
                <a:gd name="connsiteX2" fmla="*/ 0 w 707434"/>
                <a:gd name="connsiteY2" fmla="*/ 515352 h 586472"/>
                <a:gd name="connsiteX3" fmla="*/ 411480 w 707434"/>
                <a:gd name="connsiteY3" fmla="*/ 586472 h 586472"/>
                <a:gd name="connsiteX4" fmla="*/ 665480 w 707434"/>
                <a:gd name="connsiteY4" fmla="*/ 373112 h 586472"/>
                <a:gd name="connsiteX5" fmla="*/ 635000 w 707434"/>
                <a:gd name="connsiteY5" fmla="*/ 42912 h 586472"/>
                <a:gd name="connsiteX0" fmla="*/ 707051 w 746174"/>
                <a:gd name="connsiteY0" fmla="*/ 31183 h 586472"/>
                <a:gd name="connsiteX1" fmla="*/ 360328 w 746174"/>
                <a:gd name="connsiteY1" fmla="*/ 0 h 586472"/>
                <a:gd name="connsiteX2" fmla="*/ 0 w 746174"/>
                <a:gd name="connsiteY2" fmla="*/ 515352 h 586472"/>
                <a:gd name="connsiteX3" fmla="*/ 411480 w 746174"/>
                <a:gd name="connsiteY3" fmla="*/ 586472 h 586472"/>
                <a:gd name="connsiteX4" fmla="*/ 665480 w 746174"/>
                <a:gd name="connsiteY4" fmla="*/ 373112 h 586472"/>
                <a:gd name="connsiteX5" fmla="*/ 707051 w 746174"/>
                <a:gd name="connsiteY5" fmla="*/ 31183 h 586472"/>
                <a:gd name="connsiteX0" fmla="*/ 707051 w 723379"/>
                <a:gd name="connsiteY0" fmla="*/ 31183 h 586472"/>
                <a:gd name="connsiteX1" fmla="*/ 360328 w 723379"/>
                <a:gd name="connsiteY1" fmla="*/ 0 h 586472"/>
                <a:gd name="connsiteX2" fmla="*/ 0 w 723379"/>
                <a:gd name="connsiteY2" fmla="*/ 515352 h 586472"/>
                <a:gd name="connsiteX3" fmla="*/ 411480 w 723379"/>
                <a:gd name="connsiteY3" fmla="*/ 586472 h 586472"/>
                <a:gd name="connsiteX4" fmla="*/ 665480 w 723379"/>
                <a:gd name="connsiteY4" fmla="*/ 373112 h 586472"/>
                <a:gd name="connsiteX5" fmla="*/ 707051 w 723379"/>
                <a:gd name="connsiteY5" fmla="*/ 31183 h 586472"/>
                <a:gd name="connsiteX0" fmla="*/ 707051 w 714838"/>
                <a:gd name="connsiteY0" fmla="*/ 31183 h 586472"/>
                <a:gd name="connsiteX1" fmla="*/ 360328 w 714838"/>
                <a:gd name="connsiteY1" fmla="*/ 0 h 586472"/>
                <a:gd name="connsiteX2" fmla="*/ 0 w 714838"/>
                <a:gd name="connsiteY2" fmla="*/ 515352 h 586472"/>
                <a:gd name="connsiteX3" fmla="*/ 411480 w 714838"/>
                <a:gd name="connsiteY3" fmla="*/ 586472 h 586472"/>
                <a:gd name="connsiteX4" fmla="*/ 665480 w 714838"/>
                <a:gd name="connsiteY4" fmla="*/ 373112 h 586472"/>
                <a:gd name="connsiteX5" fmla="*/ 707051 w 714838"/>
                <a:gd name="connsiteY5" fmla="*/ 31183 h 586472"/>
                <a:gd name="connsiteX0" fmla="*/ 710402 w 716877"/>
                <a:gd name="connsiteY0" fmla="*/ 36209 h 586472"/>
                <a:gd name="connsiteX1" fmla="*/ 360328 w 716877"/>
                <a:gd name="connsiteY1" fmla="*/ 0 h 586472"/>
                <a:gd name="connsiteX2" fmla="*/ 0 w 716877"/>
                <a:gd name="connsiteY2" fmla="*/ 515352 h 586472"/>
                <a:gd name="connsiteX3" fmla="*/ 411480 w 716877"/>
                <a:gd name="connsiteY3" fmla="*/ 586472 h 586472"/>
                <a:gd name="connsiteX4" fmla="*/ 665480 w 716877"/>
                <a:gd name="connsiteY4" fmla="*/ 373112 h 586472"/>
                <a:gd name="connsiteX5" fmla="*/ 710402 w 716877"/>
                <a:gd name="connsiteY5" fmla="*/ 36209 h 586472"/>
                <a:gd name="connsiteX0" fmla="*/ 710402 w 721212"/>
                <a:gd name="connsiteY0" fmla="*/ 36209 h 586472"/>
                <a:gd name="connsiteX1" fmla="*/ 360328 w 721212"/>
                <a:gd name="connsiteY1" fmla="*/ 0 h 586472"/>
                <a:gd name="connsiteX2" fmla="*/ 0 w 721212"/>
                <a:gd name="connsiteY2" fmla="*/ 515352 h 586472"/>
                <a:gd name="connsiteX3" fmla="*/ 411480 w 721212"/>
                <a:gd name="connsiteY3" fmla="*/ 586472 h 586472"/>
                <a:gd name="connsiteX4" fmla="*/ 665480 w 721212"/>
                <a:gd name="connsiteY4" fmla="*/ 373112 h 586472"/>
                <a:gd name="connsiteX5" fmla="*/ 710402 w 721212"/>
                <a:gd name="connsiteY5" fmla="*/ 36209 h 586472"/>
                <a:gd name="connsiteX0" fmla="*/ 710402 w 719759"/>
                <a:gd name="connsiteY0" fmla="*/ 36209 h 586472"/>
                <a:gd name="connsiteX1" fmla="*/ 360328 w 719759"/>
                <a:gd name="connsiteY1" fmla="*/ 0 h 586472"/>
                <a:gd name="connsiteX2" fmla="*/ 0 w 719759"/>
                <a:gd name="connsiteY2" fmla="*/ 515352 h 586472"/>
                <a:gd name="connsiteX3" fmla="*/ 411480 w 719759"/>
                <a:gd name="connsiteY3" fmla="*/ 586472 h 586472"/>
                <a:gd name="connsiteX4" fmla="*/ 665480 w 719759"/>
                <a:gd name="connsiteY4" fmla="*/ 373112 h 586472"/>
                <a:gd name="connsiteX5" fmla="*/ 710402 w 719759"/>
                <a:gd name="connsiteY5" fmla="*/ 36209 h 586472"/>
                <a:gd name="connsiteX0" fmla="*/ 710402 w 721653"/>
                <a:gd name="connsiteY0" fmla="*/ 36209 h 586472"/>
                <a:gd name="connsiteX1" fmla="*/ 360328 w 721653"/>
                <a:gd name="connsiteY1" fmla="*/ 0 h 586472"/>
                <a:gd name="connsiteX2" fmla="*/ 0 w 721653"/>
                <a:gd name="connsiteY2" fmla="*/ 515352 h 586472"/>
                <a:gd name="connsiteX3" fmla="*/ 411480 w 721653"/>
                <a:gd name="connsiteY3" fmla="*/ 586472 h 586472"/>
                <a:gd name="connsiteX4" fmla="*/ 670507 w 721653"/>
                <a:gd name="connsiteY4" fmla="*/ 381490 h 586472"/>
                <a:gd name="connsiteX5" fmla="*/ 710402 w 721653"/>
                <a:gd name="connsiteY5" fmla="*/ 36209 h 586472"/>
                <a:gd name="connsiteX0" fmla="*/ 710402 w 722750"/>
                <a:gd name="connsiteY0" fmla="*/ 36209 h 586472"/>
                <a:gd name="connsiteX1" fmla="*/ 360328 w 722750"/>
                <a:gd name="connsiteY1" fmla="*/ 0 h 586472"/>
                <a:gd name="connsiteX2" fmla="*/ 0 w 722750"/>
                <a:gd name="connsiteY2" fmla="*/ 515352 h 586472"/>
                <a:gd name="connsiteX3" fmla="*/ 411480 w 722750"/>
                <a:gd name="connsiteY3" fmla="*/ 586472 h 586472"/>
                <a:gd name="connsiteX4" fmla="*/ 670507 w 722750"/>
                <a:gd name="connsiteY4" fmla="*/ 381490 h 586472"/>
                <a:gd name="connsiteX5" fmla="*/ 710402 w 722750"/>
                <a:gd name="connsiteY5" fmla="*/ 36209 h 586472"/>
                <a:gd name="connsiteX0" fmla="*/ 710402 w 722750"/>
                <a:gd name="connsiteY0" fmla="*/ 36209 h 586472"/>
                <a:gd name="connsiteX1" fmla="*/ 360328 w 722750"/>
                <a:gd name="connsiteY1" fmla="*/ 0 h 586472"/>
                <a:gd name="connsiteX2" fmla="*/ 0 w 722750"/>
                <a:gd name="connsiteY2" fmla="*/ 515352 h 586472"/>
                <a:gd name="connsiteX3" fmla="*/ 411480 w 722750"/>
                <a:gd name="connsiteY3" fmla="*/ 586472 h 586472"/>
                <a:gd name="connsiteX4" fmla="*/ 670507 w 722750"/>
                <a:gd name="connsiteY4" fmla="*/ 381490 h 586472"/>
                <a:gd name="connsiteX5" fmla="*/ 710402 w 722750"/>
                <a:gd name="connsiteY5" fmla="*/ 36209 h 586472"/>
                <a:gd name="connsiteX0" fmla="*/ 710402 w 722750"/>
                <a:gd name="connsiteY0" fmla="*/ 36209 h 591499"/>
                <a:gd name="connsiteX1" fmla="*/ 360328 w 722750"/>
                <a:gd name="connsiteY1" fmla="*/ 0 h 591499"/>
                <a:gd name="connsiteX2" fmla="*/ 0 w 722750"/>
                <a:gd name="connsiteY2" fmla="*/ 515352 h 591499"/>
                <a:gd name="connsiteX3" fmla="*/ 456722 w 722750"/>
                <a:gd name="connsiteY3" fmla="*/ 591499 h 591499"/>
                <a:gd name="connsiteX4" fmla="*/ 670507 w 722750"/>
                <a:gd name="connsiteY4" fmla="*/ 381490 h 591499"/>
                <a:gd name="connsiteX5" fmla="*/ 710402 w 722750"/>
                <a:gd name="connsiteY5" fmla="*/ 36209 h 591499"/>
                <a:gd name="connsiteX0" fmla="*/ 710402 w 722750"/>
                <a:gd name="connsiteY0" fmla="*/ 36209 h 591499"/>
                <a:gd name="connsiteX1" fmla="*/ 360328 w 722750"/>
                <a:gd name="connsiteY1" fmla="*/ 0 h 591499"/>
                <a:gd name="connsiteX2" fmla="*/ 124067 w 722750"/>
                <a:gd name="connsiteY2" fmla="*/ 341824 h 591499"/>
                <a:gd name="connsiteX3" fmla="*/ 0 w 722750"/>
                <a:gd name="connsiteY3" fmla="*/ 515352 h 591499"/>
                <a:gd name="connsiteX4" fmla="*/ 456722 w 722750"/>
                <a:gd name="connsiteY4" fmla="*/ 591499 h 591499"/>
                <a:gd name="connsiteX5" fmla="*/ 670507 w 722750"/>
                <a:gd name="connsiteY5" fmla="*/ 381490 h 591499"/>
                <a:gd name="connsiteX6" fmla="*/ 710402 w 722750"/>
                <a:gd name="connsiteY6" fmla="*/ 36209 h 591499"/>
                <a:gd name="connsiteX0" fmla="*/ 710402 w 722750"/>
                <a:gd name="connsiteY0" fmla="*/ 36209 h 591499"/>
                <a:gd name="connsiteX1" fmla="*/ 360328 w 722750"/>
                <a:gd name="connsiteY1" fmla="*/ 0 h 591499"/>
                <a:gd name="connsiteX2" fmla="*/ 192767 w 722750"/>
                <a:gd name="connsiteY2" fmla="*/ 371986 h 591499"/>
                <a:gd name="connsiteX3" fmla="*/ 0 w 722750"/>
                <a:gd name="connsiteY3" fmla="*/ 515352 h 591499"/>
                <a:gd name="connsiteX4" fmla="*/ 456722 w 722750"/>
                <a:gd name="connsiteY4" fmla="*/ 591499 h 591499"/>
                <a:gd name="connsiteX5" fmla="*/ 670507 w 722750"/>
                <a:gd name="connsiteY5" fmla="*/ 381490 h 591499"/>
                <a:gd name="connsiteX6" fmla="*/ 710402 w 722750"/>
                <a:gd name="connsiteY6" fmla="*/ 36209 h 591499"/>
                <a:gd name="connsiteX0" fmla="*/ 710402 w 722750"/>
                <a:gd name="connsiteY0" fmla="*/ 36209 h 591499"/>
                <a:gd name="connsiteX1" fmla="*/ 360328 w 722750"/>
                <a:gd name="connsiteY1" fmla="*/ 0 h 591499"/>
                <a:gd name="connsiteX2" fmla="*/ 207848 w 722750"/>
                <a:gd name="connsiteY2" fmla="*/ 343501 h 591499"/>
                <a:gd name="connsiteX3" fmla="*/ 0 w 722750"/>
                <a:gd name="connsiteY3" fmla="*/ 515352 h 591499"/>
                <a:gd name="connsiteX4" fmla="*/ 456722 w 722750"/>
                <a:gd name="connsiteY4" fmla="*/ 591499 h 591499"/>
                <a:gd name="connsiteX5" fmla="*/ 670507 w 722750"/>
                <a:gd name="connsiteY5" fmla="*/ 381490 h 591499"/>
                <a:gd name="connsiteX6" fmla="*/ 710402 w 722750"/>
                <a:gd name="connsiteY6" fmla="*/ 36209 h 591499"/>
                <a:gd name="connsiteX0" fmla="*/ 740563 w 752911"/>
                <a:gd name="connsiteY0" fmla="*/ 36209 h 591499"/>
                <a:gd name="connsiteX1" fmla="*/ 390489 w 752911"/>
                <a:gd name="connsiteY1" fmla="*/ 0 h 591499"/>
                <a:gd name="connsiteX2" fmla="*/ 238009 w 752911"/>
                <a:gd name="connsiteY2" fmla="*/ 343501 h 591499"/>
                <a:gd name="connsiteX3" fmla="*/ 0 w 752911"/>
                <a:gd name="connsiteY3" fmla="*/ 510325 h 591499"/>
                <a:gd name="connsiteX4" fmla="*/ 486883 w 752911"/>
                <a:gd name="connsiteY4" fmla="*/ 591499 h 591499"/>
                <a:gd name="connsiteX5" fmla="*/ 700668 w 752911"/>
                <a:gd name="connsiteY5" fmla="*/ 381490 h 591499"/>
                <a:gd name="connsiteX6" fmla="*/ 740563 w 752911"/>
                <a:gd name="connsiteY6" fmla="*/ 36209 h 591499"/>
                <a:gd name="connsiteX0" fmla="*/ 740563 w 752911"/>
                <a:gd name="connsiteY0" fmla="*/ 36209 h 591499"/>
                <a:gd name="connsiteX1" fmla="*/ 390489 w 752911"/>
                <a:gd name="connsiteY1" fmla="*/ 0 h 591499"/>
                <a:gd name="connsiteX2" fmla="*/ 229631 w 752911"/>
                <a:gd name="connsiteY2" fmla="*/ 336799 h 591499"/>
                <a:gd name="connsiteX3" fmla="*/ 0 w 752911"/>
                <a:gd name="connsiteY3" fmla="*/ 510325 h 591499"/>
                <a:gd name="connsiteX4" fmla="*/ 486883 w 752911"/>
                <a:gd name="connsiteY4" fmla="*/ 591499 h 591499"/>
                <a:gd name="connsiteX5" fmla="*/ 700668 w 752911"/>
                <a:gd name="connsiteY5" fmla="*/ 381490 h 591499"/>
                <a:gd name="connsiteX6" fmla="*/ 740563 w 752911"/>
                <a:gd name="connsiteY6" fmla="*/ 36209 h 591499"/>
                <a:gd name="connsiteX0" fmla="*/ 740563 w 752911"/>
                <a:gd name="connsiteY0" fmla="*/ 36209 h 591499"/>
                <a:gd name="connsiteX1" fmla="*/ 390489 w 752911"/>
                <a:gd name="connsiteY1" fmla="*/ 0 h 591499"/>
                <a:gd name="connsiteX2" fmla="*/ 316763 w 752911"/>
                <a:gd name="connsiteY2" fmla="*/ 155831 h 591499"/>
                <a:gd name="connsiteX3" fmla="*/ 229631 w 752911"/>
                <a:gd name="connsiteY3" fmla="*/ 336799 h 591499"/>
                <a:gd name="connsiteX4" fmla="*/ 0 w 752911"/>
                <a:gd name="connsiteY4" fmla="*/ 510325 h 591499"/>
                <a:gd name="connsiteX5" fmla="*/ 486883 w 752911"/>
                <a:gd name="connsiteY5" fmla="*/ 591499 h 591499"/>
                <a:gd name="connsiteX6" fmla="*/ 700668 w 752911"/>
                <a:gd name="connsiteY6" fmla="*/ 381490 h 591499"/>
                <a:gd name="connsiteX7" fmla="*/ 740563 w 752911"/>
                <a:gd name="connsiteY7" fmla="*/ 36209 h 591499"/>
                <a:gd name="connsiteX0" fmla="*/ 740563 w 752911"/>
                <a:gd name="connsiteY0" fmla="*/ 36209 h 591499"/>
                <a:gd name="connsiteX1" fmla="*/ 390489 w 752911"/>
                <a:gd name="connsiteY1" fmla="*/ 0 h 591499"/>
                <a:gd name="connsiteX2" fmla="*/ 449135 w 752911"/>
                <a:gd name="connsiteY2" fmla="*/ 242962 h 591499"/>
                <a:gd name="connsiteX3" fmla="*/ 229631 w 752911"/>
                <a:gd name="connsiteY3" fmla="*/ 336799 h 591499"/>
                <a:gd name="connsiteX4" fmla="*/ 0 w 752911"/>
                <a:gd name="connsiteY4" fmla="*/ 510325 h 591499"/>
                <a:gd name="connsiteX5" fmla="*/ 486883 w 752911"/>
                <a:gd name="connsiteY5" fmla="*/ 591499 h 591499"/>
                <a:gd name="connsiteX6" fmla="*/ 700668 w 752911"/>
                <a:gd name="connsiteY6" fmla="*/ 381490 h 591499"/>
                <a:gd name="connsiteX7" fmla="*/ 740563 w 752911"/>
                <a:gd name="connsiteY7" fmla="*/ 36209 h 591499"/>
                <a:gd name="connsiteX0" fmla="*/ 740563 w 752911"/>
                <a:gd name="connsiteY0" fmla="*/ 36209 h 591499"/>
                <a:gd name="connsiteX1" fmla="*/ 390489 w 752911"/>
                <a:gd name="connsiteY1" fmla="*/ 0 h 591499"/>
                <a:gd name="connsiteX2" fmla="*/ 445783 w 752911"/>
                <a:gd name="connsiteY2" fmla="*/ 174262 h 591499"/>
                <a:gd name="connsiteX3" fmla="*/ 229631 w 752911"/>
                <a:gd name="connsiteY3" fmla="*/ 336799 h 591499"/>
                <a:gd name="connsiteX4" fmla="*/ 0 w 752911"/>
                <a:gd name="connsiteY4" fmla="*/ 510325 h 591499"/>
                <a:gd name="connsiteX5" fmla="*/ 486883 w 752911"/>
                <a:gd name="connsiteY5" fmla="*/ 591499 h 591499"/>
                <a:gd name="connsiteX6" fmla="*/ 700668 w 752911"/>
                <a:gd name="connsiteY6" fmla="*/ 381490 h 591499"/>
                <a:gd name="connsiteX7" fmla="*/ 740563 w 752911"/>
                <a:gd name="connsiteY7" fmla="*/ 36209 h 591499"/>
                <a:gd name="connsiteX0" fmla="*/ 740563 w 752911"/>
                <a:gd name="connsiteY0" fmla="*/ 36209 h 591499"/>
                <a:gd name="connsiteX1" fmla="*/ 390489 w 752911"/>
                <a:gd name="connsiteY1" fmla="*/ 0 h 591499"/>
                <a:gd name="connsiteX2" fmla="*/ 445783 w 752911"/>
                <a:gd name="connsiteY2" fmla="*/ 174262 h 591499"/>
                <a:gd name="connsiteX3" fmla="*/ 425677 w 752911"/>
                <a:gd name="connsiteY3" fmla="*/ 112265 h 591499"/>
                <a:gd name="connsiteX4" fmla="*/ 229631 w 752911"/>
                <a:gd name="connsiteY4" fmla="*/ 336799 h 591499"/>
                <a:gd name="connsiteX5" fmla="*/ 0 w 752911"/>
                <a:gd name="connsiteY5" fmla="*/ 510325 h 591499"/>
                <a:gd name="connsiteX6" fmla="*/ 486883 w 752911"/>
                <a:gd name="connsiteY6" fmla="*/ 591499 h 591499"/>
                <a:gd name="connsiteX7" fmla="*/ 700668 w 752911"/>
                <a:gd name="connsiteY7" fmla="*/ 381490 h 591499"/>
                <a:gd name="connsiteX8" fmla="*/ 740563 w 752911"/>
                <a:gd name="connsiteY8" fmla="*/ 36209 h 591499"/>
                <a:gd name="connsiteX0" fmla="*/ 740563 w 752911"/>
                <a:gd name="connsiteY0" fmla="*/ 36209 h 591499"/>
                <a:gd name="connsiteX1" fmla="*/ 390489 w 752911"/>
                <a:gd name="connsiteY1" fmla="*/ 0 h 591499"/>
                <a:gd name="connsiteX2" fmla="*/ 445783 w 752911"/>
                <a:gd name="connsiteY2" fmla="*/ 174262 h 591499"/>
                <a:gd name="connsiteX3" fmla="*/ 444109 w 752911"/>
                <a:gd name="connsiteY3" fmla="*/ 179290 h 591499"/>
                <a:gd name="connsiteX4" fmla="*/ 229631 w 752911"/>
                <a:gd name="connsiteY4" fmla="*/ 336799 h 591499"/>
                <a:gd name="connsiteX5" fmla="*/ 0 w 752911"/>
                <a:gd name="connsiteY5" fmla="*/ 510325 h 591499"/>
                <a:gd name="connsiteX6" fmla="*/ 486883 w 752911"/>
                <a:gd name="connsiteY6" fmla="*/ 591499 h 591499"/>
                <a:gd name="connsiteX7" fmla="*/ 700668 w 752911"/>
                <a:gd name="connsiteY7" fmla="*/ 381490 h 591499"/>
                <a:gd name="connsiteX8" fmla="*/ 740563 w 752911"/>
                <a:gd name="connsiteY8" fmla="*/ 36209 h 591499"/>
                <a:gd name="connsiteX0" fmla="*/ 740563 w 752911"/>
                <a:gd name="connsiteY0" fmla="*/ 36209 h 591499"/>
                <a:gd name="connsiteX1" fmla="*/ 390489 w 752911"/>
                <a:gd name="connsiteY1" fmla="*/ 0 h 591499"/>
                <a:gd name="connsiteX2" fmla="*/ 445783 w 752911"/>
                <a:gd name="connsiteY2" fmla="*/ 174262 h 591499"/>
                <a:gd name="connsiteX3" fmla="*/ 390490 w 752911"/>
                <a:gd name="connsiteY3" fmla="*/ 269773 h 591499"/>
                <a:gd name="connsiteX4" fmla="*/ 229631 w 752911"/>
                <a:gd name="connsiteY4" fmla="*/ 336799 h 591499"/>
                <a:gd name="connsiteX5" fmla="*/ 0 w 752911"/>
                <a:gd name="connsiteY5" fmla="*/ 510325 h 591499"/>
                <a:gd name="connsiteX6" fmla="*/ 486883 w 752911"/>
                <a:gd name="connsiteY6" fmla="*/ 591499 h 591499"/>
                <a:gd name="connsiteX7" fmla="*/ 700668 w 752911"/>
                <a:gd name="connsiteY7" fmla="*/ 381490 h 591499"/>
                <a:gd name="connsiteX8" fmla="*/ 740563 w 752911"/>
                <a:gd name="connsiteY8" fmla="*/ 36209 h 591499"/>
                <a:gd name="connsiteX0" fmla="*/ 740563 w 752911"/>
                <a:gd name="connsiteY0" fmla="*/ 36209 h 591499"/>
                <a:gd name="connsiteX1" fmla="*/ 390489 w 752911"/>
                <a:gd name="connsiteY1" fmla="*/ 0 h 591499"/>
                <a:gd name="connsiteX2" fmla="*/ 365354 w 752911"/>
                <a:gd name="connsiteY2" fmla="*/ 13403 h 591499"/>
                <a:gd name="connsiteX3" fmla="*/ 390490 w 752911"/>
                <a:gd name="connsiteY3" fmla="*/ 269773 h 591499"/>
                <a:gd name="connsiteX4" fmla="*/ 229631 w 752911"/>
                <a:gd name="connsiteY4" fmla="*/ 336799 h 591499"/>
                <a:gd name="connsiteX5" fmla="*/ 0 w 752911"/>
                <a:gd name="connsiteY5" fmla="*/ 510325 h 591499"/>
                <a:gd name="connsiteX6" fmla="*/ 486883 w 752911"/>
                <a:gd name="connsiteY6" fmla="*/ 591499 h 591499"/>
                <a:gd name="connsiteX7" fmla="*/ 700668 w 752911"/>
                <a:gd name="connsiteY7" fmla="*/ 381490 h 591499"/>
                <a:gd name="connsiteX8" fmla="*/ 740563 w 752911"/>
                <a:gd name="connsiteY8" fmla="*/ 36209 h 591499"/>
                <a:gd name="connsiteX0" fmla="*/ 740563 w 752911"/>
                <a:gd name="connsiteY0" fmla="*/ 36209 h 591499"/>
                <a:gd name="connsiteX1" fmla="*/ 390489 w 752911"/>
                <a:gd name="connsiteY1" fmla="*/ 0 h 591499"/>
                <a:gd name="connsiteX2" fmla="*/ 367030 w 752911"/>
                <a:gd name="connsiteY2" fmla="*/ 40213 h 591499"/>
                <a:gd name="connsiteX3" fmla="*/ 390490 w 752911"/>
                <a:gd name="connsiteY3" fmla="*/ 269773 h 591499"/>
                <a:gd name="connsiteX4" fmla="*/ 229631 w 752911"/>
                <a:gd name="connsiteY4" fmla="*/ 336799 h 591499"/>
                <a:gd name="connsiteX5" fmla="*/ 0 w 752911"/>
                <a:gd name="connsiteY5" fmla="*/ 510325 h 591499"/>
                <a:gd name="connsiteX6" fmla="*/ 486883 w 752911"/>
                <a:gd name="connsiteY6" fmla="*/ 591499 h 591499"/>
                <a:gd name="connsiteX7" fmla="*/ 700668 w 752911"/>
                <a:gd name="connsiteY7" fmla="*/ 381490 h 591499"/>
                <a:gd name="connsiteX8" fmla="*/ 740563 w 752911"/>
                <a:gd name="connsiteY8" fmla="*/ 36209 h 591499"/>
                <a:gd name="connsiteX0" fmla="*/ 740563 w 752911"/>
                <a:gd name="connsiteY0" fmla="*/ 37884 h 593174"/>
                <a:gd name="connsiteX1" fmla="*/ 363679 w 752911"/>
                <a:gd name="connsiteY1" fmla="*/ 0 h 593174"/>
                <a:gd name="connsiteX2" fmla="*/ 367030 w 752911"/>
                <a:gd name="connsiteY2" fmla="*/ 41888 h 593174"/>
                <a:gd name="connsiteX3" fmla="*/ 390490 w 752911"/>
                <a:gd name="connsiteY3" fmla="*/ 271448 h 593174"/>
                <a:gd name="connsiteX4" fmla="*/ 229631 w 752911"/>
                <a:gd name="connsiteY4" fmla="*/ 338474 h 593174"/>
                <a:gd name="connsiteX5" fmla="*/ 0 w 752911"/>
                <a:gd name="connsiteY5" fmla="*/ 512000 h 593174"/>
                <a:gd name="connsiteX6" fmla="*/ 486883 w 752911"/>
                <a:gd name="connsiteY6" fmla="*/ 593174 h 593174"/>
                <a:gd name="connsiteX7" fmla="*/ 700668 w 752911"/>
                <a:gd name="connsiteY7" fmla="*/ 383165 h 593174"/>
                <a:gd name="connsiteX8" fmla="*/ 740563 w 752911"/>
                <a:gd name="connsiteY8" fmla="*/ 37884 h 593174"/>
                <a:gd name="connsiteX0" fmla="*/ 740563 w 752911"/>
                <a:gd name="connsiteY0" fmla="*/ 37884 h 593174"/>
                <a:gd name="connsiteX1" fmla="*/ 363679 w 752911"/>
                <a:gd name="connsiteY1" fmla="*/ 0 h 593174"/>
                <a:gd name="connsiteX2" fmla="*/ 370382 w 752911"/>
                <a:gd name="connsiteY2" fmla="*/ 41888 h 593174"/>
                <a:gd name="connsiteX3" fmla="*/ 390490 w 752911"/>
                <a:gd name="connsiteY3" fmla="*/ 271448 h 593174"/>
                <a:gd name="connsiteX4" fmla="*/ 229631 w 752911"/>
                <a:gd name="connsiteY4" fmla="*/ 338474 h 593174"/>
                <a:gd name="connsiteX5" fmla="*/ 0 w 752911"/>
                <a:gd name="connsiteY5" fmla="*/ 512000 h 593174"/>
                <a:gd name="connsiteX6" fmla="*/ 486883 w 752911"/>
                <a:gd name="connsiteY6" fmla="*/ 593174 h 593174"/>
                <a:gd name="connsiteX7" fmla="*/ 700668 w 752911"/>
                <a:gd name="connsiteY7" fmla="*/ 383165 h 593174"/>
                <a:gd name="connsiteX8" fmla="*/ 740563 w 752911"/>
                <a:gd name="connsiteY8" fmla="*/ 37884 h 593174"/>
                <a:gd name="connsiteX0" fmla="*/ 740563 w 752911"/>
                <a:gd name="connsiteY0" fmla="*/ 36209 h 591499"/>
                <a:gd name="connsiteX1" fmla="*/ 325140 w 752911"/>
                <a:gd name="connsiteY1" fmla="*/ 0 h 591499"/>
                <a:gd name="connsiteX2" fmla="*/ 370382 w 752911"/>
                <a:gd name="connsiteY2" fmla="*/ 40213 h 591499"/>
                <a:gd name="connsiteX3" fmla="*/ 390490 w 752911"/>
                <a:gd name="connsiteY3" fmla="*/ 269773 h 591499"/>
                <a:gd name="connsiteX4" fmla="*/ 229631 w 752911"/>
                <a:gd name="connsiteY4" fmla="*/ 336799 h 591499"/>
                <a:gd name="connsiteX5" fmla="*/ 0 w 752911"/>
                <a:gd name="connsiteY5" fmla="*/ 510325 h 591499"/>
                <a:gd name="connsiteX6" fmla="*/ 486883 w 752911"/>
                <a:gd name="connsiteY6" fmla="*/ 591499 h 591499"/>
                <a:gd name="connsiteX7" fmla="*/ 700668 w 752911"/>
                <a:gd name="connsiteY7" fmla="*/ 381490 h 591499"/>
                <a:gd name="connsiteX8" fmla="*/ 740563 w 752911"/>
                <a:gd name="connsiteY8" fmla="*/ 36209 h 591499"/>
                <a:gd name="connsiteX0" fmla="*/ 740563 w 752911"/>
                <a:gd name="connsiteY0" fmla="*/ 36209 h 591499"/>
                <a:gd name="connsiteX1" fmla="*/ 325140 w 752911"/>
                <a:gd name="connsiteY1" fmla="*/ 0 h 591499"/>
                <a:gd name="connsiteX2" fmla="*/ 408921 w 752911"/>
                <a:gd name="connsiteY2" fmla="*/ 134047 h 591499"/>
                <a:gd name="connsiteX3" fmla="*/ 390490 w 752911"/>
                <a:gd name="connsiteY3" fmla="*/ 269773 h 591499"/>
                <a:gd name="connsiteX4" fmla="*/ 229631 w 752911"/>
                <a:gd name="connsiteY4" fmla="*/ 336799 h 591499"/>
                <a:gd name="connsiteX5" fmla="*/ 0 w 752911"/>
                <a:gd name="connsiteY5" fmla="*/ 510325 h 591499"/>
                <a:gd name="connsiteX6" fmla="*/ 486883 w 752911"/>
                <a:gd name="connsiteY6" fmla="*/ 591499 h 591499"/>
                <a:gd name="connsiteX7" fmla="*/ 700668 w 752911"/>
                <a:gd name="connsiteY7" fmla="*/ 381490 h 591499"/>
                <a:gd name="connsiteX8" fmla="*/ 740563 w 752911"/>
                <a:gd name="connsiteY8" fmla="*/ 36209 h 591499"/>
                <a:gd name="connsiteX0" fmla="*/ 740563 w 752911"/>
                <a:gd name="connsiteY0" fmla="*/ 36209 h 591499"/>
                <a:gd name="connsiteX1" fmla="*/ 325140 w 752911"/>
                <a:gd name="connsiteY1" fmla="*/ 0 h 591499"/>
                <a:gd name="connsiteX2" fmla="*/ 430704 w 752911"/>
                <a:gd name="connsiteY2" fmla="*/ 154155 h 591499"/>
                <a:gd name="connsiteX3" fmla="*/ 390490 w 752911"/>
                <a:gd name="connsiteY3" fmla="*/ 269773 h 591499"/>
                <a:gd name="connsiteX4" fmla="*/ 229631 w 752911"/>
                <a:gd name="connsiteY4" fmla="*/ 336799 h 591499"/>
                <a:gd name="connsiteX5" fmla="*/ 0 w 752911"/>
                <a:gd name="connsiteY5" fmla="*/ 510325 h 591499"/>
                <a:gd name="connsiteX6" fmla="*/ 486883 w 752911"/>
                <a:gd name="connsiteY6" fmla="*/ 591499 h 591499"/>
                <a:gd name="connsiteX7" fmla="*/ 700668 w 752911"/>
                <a:gd name="connsiteY7" fmla="*/ 381490 h 591499"/>
                <a:gd name="connsiteX8" fmla="*/ 740563 w 752911"/>
                <a:gd name="connsiteY8" fmla="*/ 36209 h 591499"/>
                <a:gd name="connsiteX0" fmla="*/ 740563 w 752911"/>
                <a:gd name="connsiteY0" fmla="*/ 36209 h 591499"/>
                <a:gd name="connsiteX1" fmla="*/ 325140 w 752911"/>
                <a:gd name="connsiteY1" fmla="*/ 0 h 591499"/>
                <a:gd name="connsiteX2" fmla="*/ 430704 w 752911"/>
                <a:gd name="connsiteY2" fmla="*/ 154155 h 591499"/>
                <a:gd name="connsiteX3" fmla="*/ 390490 w 752911"/>
                <a:gd name="connsiteY3" fmla="*/ 269773 h 591499"/>
                <a:gd name="connsiteX4" fmla="*/ 229631 w 752911"/>
                <a:gd name="connsiteY4" fmla="*/ 336799 h 591499"/>
                <a:gd name="connsiteX5" fmla="*/ 0 w 752911"/>
                <a:gd name="connsiteY5" fmla="*/ 510325 h 591499"/>
                <a:gd name="connsiteX6" fmla="*/ 486883 w 752911"/>
                <a:gd name="connsiteY6" fmla="*/ 591499 h 591499"/>
                <a:gd name="connsiteX7" fmla="*/ 700668 w 752911"/>
                <a:gd name="connsiteY7" fmla="*/ 381490 h 591499"/>
                <a:gd name="connsiteX8" fmla="*/ 740563 w 752911"/>
                <a:gd name="connsiteY8" fmla="*/ 36209 h 591499"/>
                <a:gd name="connsiteX0" fmla="*/ 740563 w 752911"/>
                <a:gd name="connsiteY0" fmla="*/ 39561 h 594851"/>
                <a:gd name="connsiteX1" fmla="*/ 336869 w 752911"/>
                <a:gd name="connsiteY1" fmla="*/ 0 h 594851"/>
                <a:gd name="connsiteX2" fmla="*/ 430704 w 752911"/>
                <a:gd name="connsiteY2" fmla="*/ 157507 h 594851"/>
                <a:gd name="connsiteX3" fmla="*/ 390490 w 752911"/>
                <a:gd name="connsiteY3" fmla="*/ 273125 h 594851"/>
                <a:gd name="connsiteX4" fmla="*/ 229631 w 752911"/>
                <a:gd name="connsiteY4" fmla="*/ 340151 h 594851"/>
                <a:gd name="connsiteX5" fmla="*/ 0 w 752911"/>
                <a:gd name="connsiteY5" fmla="*/ 513677 h 594851"/>
                <a:gd name="connsiteX6" fmla="*/ 486883 w 752911"/>
                <a:gd name="connsiteY6" fmla="*/ 594851 h 594851"/>
                <a:gd name="connsiteX7" fmla="*/ 700668 w 752911"/>
                <a:gd name="connsiteY7" fmla="*/ 384842 h 594851"/>
                <a:gd name="connsiteX8" fmla="*/ 740563 w 752911"/>
                <a:gd name="connsiteY8" fmla="*/ 39561 h 594851"/>
                <a:gd name="connsiteX0" fmla="*/ 740563 w 752911"/>
                <a:gd name="connsiteY0" fmla="*/ 39561 h 594851"/>
                <a:gd name="connsiteX1" fmla="*/ 336869 w 752911"/>
                <a:gd name="connsiteY1" fmla="*/ 0 h 594851"/>
                <a:gd name="connsiteX2" fmla="*/ 430704 w 752911"/>
                <a:gd name="connsiteY2" fmla="*/ 157507 h 594851"/>
                <a:gd name="connsiteX3" fmla="*/ 390490 w 752911"/>
                <a:gd name="connsiteY3" fmla="*/ 273125 h 594851"/>
                <a:gd name="connsiteX4" fmla="*/ 229631 w 752911"/>
                <a:gd name="connsiteY4" fmla="*/ 340151 h 594851"/>
                <a:gd name="connsiteX5" fmla="*/ 0 w 752911"/>
                <a:gd name="connsiteY5" fmla="*/ 513677 h 594851"/>
                <a:gd name="connsiteX6" fmla="*/ 486883 w 752911"/>
                <a:gd name="connsiteY6" fmla="*/ 594851 h 594851"/>
                <a:gd name="connsiteX7" fmla="*/ 700668 w 752911"/>
                <a:gd name="connsiteY7" fmla="*/ 384842 h 594851"/>
                <a:gd name="connsiteX8" fmla="*/ 740563 w 752911"/>
                <a:gd name="connsiteY8" fmla="*/ 39561 h 594851"/>
                <a:gd name="connsiteX0" fmla="*/ 740563 w 752911"/>
                <a:gd name="connsiteY0" fmla="*/ 39561 h 594851"/>
                <a:gd name="connsiteX1" fmla="*/ 336869 w 752911"/>
                <a:gd name="connsiteY1" fmla="*/ 0 h 594851"/>
                <a:gd name="connsiteX2" fmla="*/ 430704 w 752911"/>
                <a:gd name="connsiteY2" fmla="*/ 157507 h 594851"/>
                <a:gd name="connsiteX3" fmla="*/ 390490 w 752911"/>
                <a:gd name="connsiteY3" fmla="*/ 273125 h 594851"/>
                <a:gd name="connsiteX4" fmla="*/ 229631 w 752911"/>
                <a:gd name="connsiteY4" fmla="*/ 340151 h 594851"/>
                <a:gd name="connsiteX5" fmla="*/ 0 w 752911"/>
                <a:gd name="connsiteY5" fmla="*/ 513677 h 594851"/>
                <a:gd name="connsiteX6" fmla="*/ 486883 w 752911"/>
                <a:gd name="connsiteY6" fmla="*/ 594851 h 594851"/>
                <a:gd name="connsiteX7" fmla="*/ 700668 w 752911"/>
                <a:gd name="connsiteY7" fmla="*/ 384842 h 594851"/>
                <a:gd name="connsiteX8" fmla="*/ 740563 w 752911"/>
                <a:gd name="connsiteY8" fmla="*/ 39561 h 594851"/>
                <a:gd name="connsiteX0" fmla="*/ 740563 w 752911"/>
                <a:gd name="connsiteY0" fmla="*/ 39561 h 594851"/>
                <a:gd name="connsiteX1" fmla="*/ 336869 w 752911"/>
                <a:gd name="connsiteY1" fmla="*/ 0 h 594851"/>
                <a:gd name="connsiteX2" fmla="*/ 430704 w 752911"/>
                <a:gd name="connsiteY2" fmla="*/ 157507 h 594851"/>
                <a:gd name="connsiteX3" fmla="*/ 380436 w 752911"/>
                <a:gd name="connsiteY3" fmla="*/ 211128 h 594851"/>
                <a:gd name="connsiteX4" fmla="*/ 229631 w 752911"/>
                <a:gd name="connsiteY4" fmla="*/ 340151 h 594851"/>
                <a:gd name="connsiteX5" fmla="*/ 0 w 752911"/>
                <a:gd name="connsiteY5" fmla="*/ 513677 h 594851"/>
                <a:gd name="connsiteX6" fmla="*/ 486883 w 752911"/>
                <a:gd name="connsiteY6" fmla="*/ 594851 h 594851"/>
                <a:gd name="connsiteX7" fmla="*/ 700668 w 752911"/>
                <a:gd name="connsiteY7" fmla="*/ 384842 h 594851"/>
                <a:gd name="connsiteX8" fmla="*/ 740563 w 752911"/>
                <a:gd name="connsiteY8" fmla="*/ 39561 h 594851"/>
                <a:gd name="connsiteX0" fmla="*/ 740563 w 752911"/>
                <a:gd name="connsiteY0" fmla="*/ 39561 h 594851"/>
                <a:gd name="connsiteX1" fmla="*/ 336869 w 752911"/>
                <a:gd name="connsiteY1" fmla="*/ 0 h 594851"/>
                <a:gd name="connsiteX2" fmla="*/ 430704 w 752911"/>
                <a:gd name="connsiteY2" fmla="*/ 157507 h 594851"/>
                <a:gd name="connsiteX3" fmla="*/ 229631 w 752911"/>
                <a:gd name="connsiteY3" fmla="*/ 340151 h 594851"/>
                <a:gd name="connsiteX4" fmla="*/ 0 w 752911"/>
                <a:gd name="connsiteY4" fmla="*/ 513677 h 594851"/>
                <a:gd name="connsiteX5" fmla="*/ 486883 w 752911"/>
                <a:gd name="connsiteY5" fmla="*/ 594851 h 594851"/>
                <a:gd name="connsiteX6" fmla="*/ 700668 w 752911"/>
                <a:gd name="connsiteY6" fmla="*/ 384842 h 594851"/>
                <a:gd name="connsiteX7" fmla="*/ 740563 w 752911"/>
                <a:gd name="connsiteY7" fmla="*/ 39561 h 594851"/>
                <a:gd name="connsiteX0" fmla="*/ 740563 w 752911"/>
                <a:gd name="connsiteY0" fmla="*/ 39561 h 594851"/>
                <a:gd name="connsiteX1" fmla="*/ 336869 w 752911"/>
                <a:gd name="connsiteY1" fmla="*/ 0 h 594851"/>
                <a:gd name="connsiteX2" fmla="*/ 442434 w 752911"/>
                <a:gd name="connsiteY2" fmla="*/ 164209 h 594851"/>
                <a:gd name="connsiteX3" fmla="*/ 229631 w 752911"/>
                <a:gd name="connsiteY3" fmla="*/ 340151 h 594851"/>
                <a:gd name="connsiteX4" fmla="*/ 0 w 752911"/>
                <a:gd name="connsiteY4" fmla="*/ 513677 h 594851"/>
                <a:gd name="connsiteX5" fmla="*/ 486883 w 752911"/>
                <a:gd name="connsiteY5" fmla="*/ 594851 h 594851"/>
                <a:gd name="connsiteX6" fmla="*/ 700668 w 752911"/>
                <a:gd name="connsiteY6" fmla="*/ 384842 h 594851"/>
                <a:gd name="connsiteX7" fmla="*/ 740563 w 752911"/>
                <a:gd name="connsiteY7" fmla="*/ 39561 h 594851"/>
                <a:gd name="connsiteX0" fmla="*/ 740563 w 752911"/>
                <a:gd name="connsiteY0" fmla="*/ 39561 h 594851"/>
                <a:gd name="connsiteX1" fmla="*/ 336869 w 752911"/>
                <a:gd name="connsiteY1" fmla="*/ 0 h 594851"/>
                <a:gd name="connsiteX2" fmla="*/ 442434 w 752911"/>
                <a:gd name="connsiteY2" fmla="*/ 164209 h 594851"/>
                <a:gd name="connsiteX3" fmla="*/ 229631 w 752911"/>
                <a:gd name="connsiteY3" fmla="*/ 340151 h 594851"/>
                <a:gd name="connsiteX4" fmla="*/ 0 w 752911"/>
                <a:gd name="connsiteY4" fmla="*/ 513677 h 594851"/>
                <a:gd name="connsiteX5" fmla="*/ 486883 w 752911"/>
                <a:gd name="connsiteY5" fmla="*/ 594851 h 594851"/>
                <a:gd name="connsiteX6" fmla="*/ 700668 w 752911"/>
                <a:gd name="connsiteY6" fmla="*/ 384842 h 594851"/>
                <a:gd name="connsiteX7" fmla="*/ 740563 w 752911"/>
                <a:gd name="connsiteY7" fmla="*/ 39561 h 594851"/>
                <a:gd name="connsiteX0" fmla="*/ 740563 w 752911"/>
                <a:gd name="connsiteY0" fmla="*/ 39561 h 594851"/>
                <a:gd name="connsiteX1" fmla="*/ 336869 w 752911"/>
                <a:gd name="connsiteY1" fmla="*/ 0 h 594851"/>
                <a:gd name="connsiteX2" fmla="*/ 442434 w 752911"/>
                <a:gd name="connsiteY2" fmla="*/ 164209 h 594851"/>
                <a:gd name="connsiteX3" fmla="*/ 229631 w 752911"/>
                <a:gd name="connsiteY3" fmla="*/ 340151 h 594851"/>
                <a:gd name="connsiteX4" fmla="*/ 0 w 752911"/>
                <a:gd name="connsiteY4" fmla="*/ 513677 h 594851"/>
                <a:gd name="connsiteX5" fmla="*/ 486883 w 752911"/>
                <a:gd name="connsiteY5" fmla="*/ 594851 h 594851"/>
                <a:gd name="connsiteX6" fmla="*/ 700668 w 752911"/>
                <a:gd name="connsiteY6" fmla="*/ 384842 h 594851"/>
                <a:gd name="connsiteX7" fmla="*/ 740563 w 752911"/>
                <a:gd name="connsiteY7" fmla="*/ 39561 h 594851"/>
                <a:gd name="connsiteX0" fmla="*/ 740563 w 752911"/>
                <a:gd name="connsiteY0" fmla="*/ 39561 h 594851"/>
                <a:gd name="connsiteX1" fmla="*/ 336869 w 752911"/>
                <a:gd name="connsiteY1" fmla="*/ 0 h 594851"/>
                <a:gd name="connsiteX2" fmla="*/ 390490 w 752911"/>
                <a:gd name="connsiteY2" fmla="*/ 129022 h 594851"/>
                <a:gd name="connsiteX3" fmla="*/ 442434 w 752911"/>
                <a:gd name="connsiteY3" fmla="*/ 164209 h 594851"/>
                <a:gd name="connsiteX4" fmla="*/ 229631 w 752911"/>
                <a:gd name="connsiteY4" fmla="*/ 340151 h 594851"/>
                <a:gd name="connsiteX5" fmla="*/ 0 w 752911"/>
                <a:gd name="connsiteY5" fmla="*/ 513677 h 594851"/>
                <a:gd name="connsiteX6" fmla="*/ 486883 w 752911"/>
                <a:gd name="connsiteY6" fmla="*/ 594851 h 594851"/>
                <a:gd name="connsiteX7" fmla="*/ 700668 w 752911"/>
                <a:gd name="connsiteY7" fmla="*/ 384842 h 594851"/>
                <a:gd name="connsiteX8" fmla="*/ 740563 w 752911"/>
                <a:gd name="connsiteY8" fmla="*/ 39561 h 594851"/>
                <a:gd name="connsiteX0" fmla="*/ 740563 w 752911"/>
                <a:gd name="connsiteY0" fmla="*/ 39561 h 594851"/>
                <a:gd name="connsiteX1" fmla="*/ 336869 w 752911"/>
                <a:gd name="connsiteY1" fmla="*/ 0 h 594851"/>
                <a:gd name="connsiteX2" fmla="*/ 378761 w 752911"/>
                <a:gd name="connsiteY2" fmla="*/ 132373 h 594851"/>
                <a:gd name="connsiteX3" fmla="*/ 442434 w 752911"/>
                <a:gd name="connsiteY3" fmla="*/ 164209 h 594851"/>
                <a:gd name="connsiteX4" fmla="*/ 229631 w 752911"/>
                <a:gd name="connsiteY4" fmla="*/ 340151 h 594851"/>
                <a:gd name="connsiteX5" fmla="*/ 0 w 752911"/>
                <a:gd name="connsiteY5" fmla="*/ 513677 h 594851"/>
                <a:gd name="connsiteX6" fmla="*/ 486883 w 752911"/>
                <a:gd name="connsiteY6" fmla="*/ 594851 h 594851"/>
                <a:gd name="connsiteX7" fmla="*/ 700668 w 752911"/>
                <a:gd name="connsiteY7" fmla="*/ 384842 h 594851"/>
                <a:gd name="connsiteX8" fmla="*/ 740563 w 752911"/>
                <a:gd name="connsiteY8" fmla="*/ 39561 h 594851"/>
                <a:gd name="connsiteX0" fmla="*/ 740563 w 752911"/>
                <a:gd name="connsiteY0" fmla="*/ 39561 h 594851"/>
                <a:gd name="connsiteX1" fmla="*/ 336869 w 752911"/>
                <a:gd name="connsiteY1" fmla="*/ 0 h 594851"/>
                <a:gd name="connsiteX2" fmla="*/ 378761 w 752911"/>
                <a:gd name="connsiteY2" fmla="*/ 132373 h 594851"/>
                <a:gd name="connsiteX3" fmla="*/ 442434 w 752911"/>
                <a:gd name="connsiteY3" fmla="*/ 164209 h 594851"/>
                <a:gd name="connsiteX4" fmla="*/ 229631 w 752911"/>
                <a:gd name="connsiteY4" fmla="*/ 340151 h 594851"/>
                <a:gd name="connsiteX5" fmla="*/ 0 w 752911"/>
                <a:gd name="connsiteY5" fmla="*/ 513677 h 594851"/>
                <a:gd name="connsiteX6" fmla="*/ 486883 w 752911"/>
                <a:gd name="connsiteY6" fmla="*/ 594851 h 594851"/>
                <a:gd name="connsiteX7" fmla="*/ 700668 w 752911"/>
                <a:gd name="connsiteY7" fmla="*/ 384842 h 594851"/>
                <a:gd name="connsiteX8" fmla="*/ 740563 w 752911"/>
                <a:gd name="connsiteY8" fmla="*/ 39561 h 594851"/>
                <a:gd name="connsiteX0" fmla="*/ 740563 w 752911"/>
                <a:gd name="connsiteY0" fmla="*/ 39561 h 594851"/>
                <a:gd name="connsiteX1" fmla="*/ 336869 w 752911"/>
                <a:gd name="connsiteY1" fmla="*/ 0 h 594851"/>
                <a:gd name="connsiteX2" fmla="*/ 378761 w 752911"/>
                <a:gd name="connsiteY2" fmla="*/ 132373 h 594851"/>
                <a:gd name="connsiteX3" fmla="*/ 442434 w 752911"/>
                <a:gd name="connsiteY3" fmla="*/ 164209 h 594851"/>
                <a:gd name="connsiteX4" fmla="*/ 229631 w 752911"/>
                <a:gd name="connsiteY4" fmla="*/ 340151 h 594851"/>
                <a:gd name="connsiteX5" fmla="*/ 0 w 752911"/>
                <a:gd name="connsiteY5" fmla="*/ 513677 h 594851"/>
                <a:gd name="connsiteX6" fmla="*/ 486883 w 752911"/>
                <a:gd name="connsiteY6" fmla="*/ 594851 h 594851"/>
                <a:gd name="connsiteX7" fmla="*/ 700668 w 752911"/>
                <a:gd name="connsiteY7" fmla="*/ 384842 h 594851"/>
                <a:gd name="connsiteX8" fmla="*/ 740563 w 752911"/>
                <a:gd name="connsiteY8" fmla="*/ 39561 h 594851"/>
                <a:gd name="connsiteX0" fmla="*/ 740563 w 752911"/>
                <a:gd name="connsiteY0" fmla="*/ 39561 h 594851"/>
                <a:gd name="connsiteX1" fmla="*/ 336869 w 752911"/>
                <a:gd name="connsiteY1" fmla="*/ 0 h 594851"/>
                <a:gd name="connsiteX2" fmla="*/ 378761 w 752911"/>
                <a:gd name="connsiteY2" fmla="*/ 132373 h 594851"/>
                <a:gd name="connsiteX3" fmla="*/ 442434 w 752911"/>
                <a:gd name="connsiteY3" fmla="*/ 164209 h 594851"/>
                <a:gd name="connsiteX4" fmla="*/ 229631 w 752911"/>
                <a:gd name="connsiteY4" fmla="*/ 340151 h 594851"/>
                <a:gd name="connsiteX5" fmla="*/ 0 w 752911"/>
                <a:gd name="connsiteY5" fmla="*/ 513677 h 594851"/>
                <a:gd name="connsiteX6" fmla="*/ 486883 w 752911"/>
                <a:gd name="connsiteY6" fmla="*/ 594851 h 594851"/>
                <a:gd name="connsiteX7" fmla="*/ 700668 w 752911"/>
                <a:gd name="connsiteY7" fmla="*/ 384842 h 594851"/>
                <a:gd name="connsiteX8" fmla="*/ 740563 w 752911"/>
                <a:gd name="connsiteY8" fmla="*/ 39561 h 594851"/>
                <a:gd name="connsiteX0" fmla="*/ 1092440 w 1104788"/>
                <a:gd name="connsiteY0" fmla="*/ 39561 h 738209"/>
                <a:gd name="connsiteX1" fmla="*/ 688746 w 1104788"/>
                <a:gd name="connsiteY1" fmla="*/ 0 h 738209"/>
                <a:gd name="connsiteX2" fmla="*/ 730638 w 1104788"/>
                <a:gd name="connsiteY2" fmla="*/ 132373 h 738209"/>
                <a:gd name="connsiteX3" fmla="*/ 794311 w 1104788"/>
                <a:gd name="connsiteY3" fmla="*/ 164209 h 738209"/>
                <a:gd name="connsiteX4" fmla="*/ 581508 w 1104788"/>
                <a:gd name="connsiteY4" fmla="*/ 340151 h 738209"/>
                <a:gd name="connsiteX5" fmla="*/ 0 w 1104788"/>
                <a:gd name="connsiteY5" fmla="*/ 738209 h 738209"/>
                <a:gd name="connsiteX6" fmla="*/ 838760 w 1104788"/>
                <a:gd name="connsiteY6" fmla="*/ 594851 h 738209"/>
                <a:gd name="connsiteX7" fmla="*/ 1052545 w 1104788"/>
                <a:gd name="connsiteY7" fmla="*/ 384842 h 738209"/>
                <a:gd name="connsiteX8" fmla="*/ 1092440 w 1104788"/>
                <a:gd name="connsiteY8" fmla="*/ 39561 h 738209"/>
                <a:gd name="connsiteX0" fmla="*/ 1092440 w 1104788"/>
                <a:gd name="connsiteY0" fmla="*/ 39561 h 738209"/>
                <a:gd name="connsiteX1" fmla="*/ 688746 w 1104788"/>
                <a:gd name="connsiteY1" fmla="*/ 0 h 738209"/>
                <a:gd name="connsiteX2" fmla="*/ 730638 w 1104788"/>
                <a:gd name="connsiteY2" fmla="*/ 132373 h 738209"/>
                <a:gd name="connsiteX3" fmla="*/ 794311 w 1104788"/>
                <a:gd name="connsiteY3" fmla="*/ 164209 h 738209"/>
                <a:gd name="connsiteX4" fmla="*/ 581508 w 1104788"/>
                <a:gd name="connsiteY4" fmla="*/ 340151 h 738209"/>
                <a:gd name="connsiteX5" fmla="*/ 0 w 1104788"/>
                <a:gd name="connsiteY5" fmla="*/ 738209 h 738209"/>
                <a:gd name="connsiteX6" fmla="*/ 835409 w 1104788"/>
                <a:gd name="connsiteY6" fmla="*/ 603229 h 738209"/>
                <a:gd name="connsiteX7" fmla="*/ 1052545 w 1104788"/>
                <a:gd name="connsiteY7" fmla="*/ 384842 h 738209"/>
                <a:gd name="connsiteX8" fmla="*/ 1092440 w 1104788"/>
                <a:gd name="connsiteY8" fmla="*/ 39561 h 738209"/>
                <a:gd name="connsiteX0" fmla="*/ 1092440 w 1104788"/>
                <a:gd name="connsiteY0" fmla="*/ 39561 h 738209"/>
                <a:gd name="connsiteX1" fmla="*/ 688746 w 1104788"/>
                <a:gd name="connsiteY1" fmla="*/ 0 h 738209"/>
                <a:gd name="connsiteX2" fmla="*/ 730638 w 1104788"/>
                <a:gd name="connsiteY2" fmla="*/ 132373 h 738209"/>
                <a:gd name="connsiteX3" fmla="*/ 794311 w 1104788"/>
                <a:gd name="connsiteY3" fmla="*/ 164209 h 738209"/>
                <a:gd name="connsiteX4" fmla="*/ 581508 w 1104788"/>
                <a:gd name="connsiteY4" fmla="*/ 340151 h 738209"/>
                <a:gd name="connsiteX5" fmla="*/ 0 w 1104788"/>
                <a:gd name="connsiteY5" fmla="*/ 738209 h 738209"/>
                <a:gd name="connsiteX6" fmla="*/ 631776 w 1104788"/>
                <a:gd name="connsiteY6" fmla="*/ 636732 h 738209"/>
                <a:gd name="connsiteX7" fmla="*/ 835409 w 1104788"/>
                <a:gd name="connsiteY7" fmla="*/ 603229 h 738209"/>
                <a:gd name="connsiteX8" fmla="*/ 1052545 w 1104788"/>
                <a:gd name="connsiteY8" fmla="*/ 384842 h 738209"/>
                <a:gd name="connsiteX9" fmla="*/ 1092440 w 1104788"/>
                <a:gd name="connsiteY9" fmla="*/ 39561 h 738209"/>
                <a:gd name="connsiteX0" fmla="*/ 1092440 w 1104788"/>
                <a:gd name="connsiteY0" fmla="*/ 39561 h 797590"/>
                <a:gd name="connsiteX1" fmla="*/ 688746 w 1104788"/>
                <a:gd name="connsiteY1" fmla="*/ 0 h 797590"/>
                <a:gd name="connsiteX2" fmla="*/ 730638 w 1104788"/>
                <a:gd name="connsiteY2" fmla="*/ 132373 h 797590"/>
                <a:gd name="connsiteX3" fmla="*/ 794311 w 1104788"/>
                <a:gd name="connsiteY3" fmla="*/ 164209 h 797590"/>
                <a:gd name="connsiteX4" fmla="*/ 581508 w 1104788"/>
                <a:gd name="connsiteY4" fmla="*/ 340151 h 797590"/>
                <a:gd name="connsiteX5" fmla="*/ 0 w 1104788"/>
                <a:gd name="connsiteY5" fmla="*/ 738209 h 797590"/>
                <a:gd name="connsiteX6" fmla="*/ 615021 w 1104788"/>
                <a:gd name="connsiteY6" fmla="*/ 797590 h 797590"/>
                <a:gd name="connsiteX7" fmla="*/ 835409 w 1104788"/>
                <a:gd name="connsiteY7" fmla="*/ 603229 h 797590"/>
                <a:gd name="connsiteX8" fmla="*/ 1052545 w 1104788"/>
                <a:gd name="connsiteY8" fmla="*/ 384842 h 797590"/>
                <a:gd name="connsiteX9" fmla="*/ 1092440 w 1104788"/>
                <a:gd name="connsiteY9" fmla="*/ 39561 h 797590"/>
                <a:gd name="connsiteX0" fmla="*/ 1092440 w 1104788"/>
                <a:gd name="connsiteY0" fmla="*/ 39561 h 792563"/>
                <a:gd name="connsiteX1" fmla="*/ 688746 w 1104788"/>
                <a:gd name="connsiteY1" fmla="*/ 0 h 792563"/>
                <a:gd name="connsiteX2" fmla="*/ 730638 w 1104788"/>
                <a:gd name="connsiteY2" fmla="*/ 132373 h 792563"/>
                <a:gd name="connsiteX3" fmla="*/ 794311 w 1104788"/>
                <a:gd name="connsiteY3" fmla="*/ 164209 h 792563"/>
                <a:gd name="connsiteX4" fmla="*/ 581508 w 1104788"/>
                <a:gd name="connsiteY4" fmla="*/ 340151 h 792563"/>
                <a:gd name="connsiteX5" fmla="*/ 0 w 1104788"/>
                <a:gd name="connsiteY5" fmla="*/ 738209 h 792563"/>
                <a:gd name="connsiteX6" fmla="*/ 620048 w 1104788"/>
                <a:gd name="connsiteY6" fmla="*/ 792563 h 792563"/>
                <a:gd name="connsiteX7" fmla="*/ 835409 w 1104788"/>
                <a:gd name="connsiteY7" fmla="*/ 603229 h 792563"/>
                <a:gd name="connsiteX8" fmla="*/ 1052545 w 1104788"/>
                <a:gd name="connsiteY8" fmla="*/ 384842 h 792563"/>
                <a:gd name="connsiteX9" fmla="*/ 1092440 w 1104788"/>
                <a:gd name="connsiteY9" fmla="*/ 39561 h 792563"/>
                <a:gd name="connsiteX0" fmla="*/ 1092440 w 1104788"/>
                <a:gd name="connsiteY0" fmla="*/ 39561 h 792563"/>
                <a:gd name="connsiteX1" fmla="*/ 688746 w 1104788"/>
                <a:gd name="connsiteY1" fmla="*/ 0 h 792563"/>
                <a:gd name="connsiteX2" fmla="*/ 730638 w 1104788"/>
                <a:gd name="connsiteY2" fmla="*/ 132373 h 792563"/>
                <a:gd name="connsiteX3" fmla="*/ 794311 w 1104788"/>
                <a:gd name="connsiteY3" fmla="*/ 164209 h 792563"/>
                <a:gd name="connsiteX4" fmla="*/ 581508 w 1104788"/>
                <a:gd name="connsiteY4" fmla="*/ 340151 h 792563"/>
                <a:gd name="connsiteX5" fmla="*/ 0 w 1104788"/>
                <a:gd name="connsiteY5" fmla="*/ 738209 h 792563"/>
                <a:gd name="connsiteX6" fmla="*/ 620048 w 1104788"/>
                <a:gd name="connsiteY6" fmla="*/ 792563 h 792563"/>
                <a:gd name="connsiteX7" fmla="*/ 835409 w 1104788"/>
                <a:gd name="connsiteY7" fmla="*/ 603229 h 792563"/>
                <a:gd name="connsiteX8" fmla="*/ 1052545 w 1104788"/>
                <a:gd name="connsiteY8" fmla="*/ 384842 h 792563"/>
                <a:gd name="connsiteX9" fmla="*/ 1092440 w 1104788"/>
                <a:gd name="connsiteY9" fmla="*/ 39561 h 792563"/>
                <a:gd name="connsiteX0" fmla="*/ 1092440 w 1104788"/>
                <a:gd name="connsiteY0" fmla="*/ 39561 h 792563"/>
                <a:gd name="connsiteX1" fmla="*/ 688746 w 1104788"/>
                <a:gd name="connsiteY1" fmla="*/ 0 h 792563"/>
                <a:gd name="connsiteX2" fmla="*/ 730638 w 1104788"/>
                <a:gd name="connsiteY2" fmla="*/ 132373 h 792563"/>
                <a:gd name="connsiteX3" fmla="*/ 794311 w 1104788"/>
                <a:gd name="connsiteY3" fmla="*/ 164209 h 792563"/>
                <a:gd name="connsiteX4" fmla="*/ 581508 w 1104788"/>
                <a:gd name="connsiteY4" fmla="*/ 340151 h 792563"/>
                <a:gd name="connsiteX5" fmla="*/ 0 w 1104788"/>
                <a:gd name="connsiteY5" fmla="*/ 738209 h 792563"/>
                <a:gd name="connsiteX6" fmla="*/ 620048 w 1104788"/>
                <a:gd name="connsiteY6" fmla="*/ 792563 h 792563"/>
                <a:gd name="connsiteX7" fmla="*/ 848814 w 1104788"/>
                <a:gd name="connsiteY7" fmla="*/ 628364 h 792563"/>
                <a:gd name="connsiteX8" fmla="*/ 1052545 w 1104788"/>
                <a:gd name="connsiteY8" fmla="*/ 384842 h 792563"/>
                <a:gd name="connsiteX9" fmla="*/ 1092440 w 1104788"/>
                <a:gd name="connsiteY9" fmla="*/ 39561 h 792563"/>
                <a:gd name="connsiteX0" fmla="*/ 1092440 w 1104788"/>
                <a:gd name="connsiteY0" fmla="*/ 39561 h 792563"/>
                <a:gd name="connsiteX1" fmla="*/ 688746 w 1104788"/>
                <a:gd name="connsiteY1" fmla="*/ 0 h 792563"/>
                <a:gd name="connsiteX2" fmla="*/ 730638 w 1104788"/>
                <a:gd name="connsiteY2" fmla="*/ 132373 h 792563"/>
                <a:gd name="connsiteX3" fmla="*/ 794311 w 1104788"/>
                <a:gd name="connsiteY3" fmla="*/ 164209 h 792563"/>
                <a:gd name="connsiteX4" fmla="*/ 581508 w 1104788"/>
                <a:gd name="connsiteY4" fmla="*/ 340151 h 792563"/>
                <a:gd name="connsiteX5" fmla="*/ 0 w 1104788"/>
                <a:gd name="connsiteY5" fmla="*/ 738209 h 792563"/>
                <a:gd name="connsiteX6" fmla="*/ 620048 w 1104788"/>
                <a:gd name="connsiteY6" fmla="*/ 792563 h 792563"/>
                <a:gd name="connsiteX7" fmla="*/ 848814 w 1104788"/>
                <a:gd name="connsiteY7" fmla="*/ 628364 h 792563"/>
                <a:gd name="connsiteX8" fmla="*/ 1052545 w 1104788"/>
                <a:gd name="connsiteY8" fmla="*/ 384842 h 792563"/>
                <a:gd name="connsiteX9" fmla="*/ 1092440 w 1104788"/>
                <a:gd name="connsiteY9" fmla="*/ 39561 h 792563"/>
                <a:gd name="connsiteX0" fmla="*/ 1092440 w 1104788"/>
                <a:gd name="connsiteY0" fmla="*/ 39561 h 792563"/>
                <a:gd name="connsiteX1" fmla="*/ 688746 w 1104788"/>
                <a:gd name="connsiteY1" fmla="*/ 0 h 792563"/>
                <a:gd name="connsiteX2" fmla="*/ 730638 w 1104788"/>
                <a:gd name="connsiteY2" fmla="*/ 132373 h 792563"/>
                <a:gd name="connsiteX3" fmla="*/ 794311 w 1104788"/>
                <a:gd name="connsiteY3" fmla="*/ 164209 h 792563"/>
                <a:gd name="connsiteX4" fmla="*/ 581508 w 1104788"/>
                <a:gd name="connsiteY4" fmla="*/ 340151 h 792563"/>
                <a:gd name="connsiteX5" fmla="*/ 0 w 1104788"/>
                <a:gd name="connsiteY5" fmla="*/ 738209 h 792563"/>
                <a:gd name="connsiteX6" fmla="*/ 620048 w 1104788"/>
                <a:gd name="connsiteY6" fmla="*/ 792563 h 792563"/>
                <a:gd name="connsiteX7" fmla="*/ 848814 w 1104788"/>
                <a:gd name="connsiteY7" fmla="*/ 628364 h 792563"/>
                <a:gd name="connsiteX8" fmla="*/ 1052545 w 1104788"/>
                <a:gd name="connsiteY8" fmla="*/ 384842 h 792563"/>
                <a:gd name="connsiteX9" fmla="*/ 1092440 w 1104788"/>
                <a:gd name="connsiteY9" fmla="*/ 39561 h 792563"/>
                <a:gd name="connsiteX0" fmla="*/ 1092440 w 1104788"/>
                <a:gd name="connsiteY0" fmla="*/ 39561 h 792563"/>
                <a:gd name="connsiteX1" fmla="*/ 688746 w 1104788"/>
                <a:gd name="connsiteY1" fmla="*/ 0 h 792563"/>
                <a:gd name="connsiteX2" fmla="*/ 730638 w 1104788"/>
                <a:gd name="connsiteY2" fmla="*/ 132373 h 792563"/>
                <a:gd name="connsiteX3" fmla="*/ 794311 w 1104788"/>
                <a:gd name="connsiteY3" fmla="*/ 164209 h 792563"/>
                <a:gd name="connsiteX4" fmla="*/ 581508 w 1104788"/>
                <a:gd name="connsiteY4" fmla="*/ 340151 h 792563"/>
                <a:gd name="connsiteX5" fmla="*/ 0 w 1104788"/>
                <a:gd name="connsiteY5" fmla="*/ 738209 h 792563"/>
                <a:gd name="connsiteX6" fmla="*/ 620048 w 1104788"/>
                <a:gd name="connsiteY6" fmla="*/ 792563 h 792563"/>
                <a:gd name="connsiteX7" fmla="*/ 848814 w 1104788"/>
                <a:gd name="connsiteY7" fmla="*/ 628364 h 792563"/>
                <a:gd name="connsiteX8" fmla="*/ 1052545 w 1104788"/>
                <a:gd name="connsiteY8" fmla="*/ 384842 h 792563"/>
                <a:gd name="connsiteX9" fmla="*/ 1092440 w 1104788"/>
                <a:gd name="connsiteY9" fmla="*/ 39561 h 792563"/>
                <a:gd name="connsiteX0" fmla="*/ 1092440 w 1104788"/>
                <a:gd name="connsiteY0" fmla="*/ 39561 h 792563"/>
                <a:gd name="connsiteX1" fmla="*/ 688746 w 1104788"/>
                <a:gd name="connsiteY1" fmla="*/ 0 h 792563"/>
                <a:gd name="connsiteX2" fmla="*/ 730638 w 1104788"/>
                <a:gd name="connsiteY2" fmla="*/ 132373 h 792563"/>
                <a:gd name="connsiteX3" fmla="*/ 794311 w 1104788"/>
                <a:gd name="connsiteY3" fmla="*/ 164209 h 792563"/>
                <a:gd name="connsiteX4" fmla="*/ 581508 w 1104788"/>
                <a:gd name="connsiteY4" fmla="*/ 340151 h 792563"/>
                <a:gd name="connsiteX5" fmla="*/ 0 w 1104788"/>
                <a:gd name="connsiteY5" fmla="*/ 738209 h 792563"/>
                <a:gd name="connsiteX6" fmla="*/ 620048 w 1104788"/>
                <a:gd name="connsiteY6" fmla="*/ 792563 h 792563"/>
                <a:gd name="connsiteX7" fmla="*/ 848814 w 1104788"/>
                <a:gd name="connsiteY7" fmla="*/ 628364 h 792563"/>
                <a:gd name="connsiteX8" fmla="*/ 1052545 w 1104788"/>
                <a:gd name="connsiteY8" fmla="*/ 384842 h 792563"/>
                <a:gd name="connsiteX9" fmla="*/ 1092440 w 1104788"/>
                <a:gd name="connsiteY9" fmla="*/ 39561 h 792563"/>
                <a:gd name="connsiteX0" fmla="*/ 1092440 w 1104788"/>
                <a:gd name="connsiteY0" fmla="*/ 39561 h 792563"/>
                <a:gd name="connsiteX1" fmla="*/ 688746 w 1104788"/>
                <a:gd name="connsiteY1" fmla="*/ 0 h 792563"/>
                <a:gd name="connsiteX2" fmla="*/ 675342 w 1104788"/>
                <a:gd name="connsiteY2" fmla="*/ 122319 h 792563"/>
                <a:gd name="connsiteX3" fmla="*/ 794311 w 1104788"/>
                <a:gd name="connsiteY3" fmla="*/ 164209 h 792563"/>
                <a:gd name="connsiteX4" fmla="*/ 581508 w 1104788"/>
                <a:gd name="connsiteY4" fmla="*/ 340151 h 792563"/>
                <a:gd name="connsiteX5" fmla="*/ 0 w 1104788"/>
                <a:gd name="connsiteY5" fmla="*/ 738209 h 792563"/>
                <a:gd name="connsiteX6" fmla="*/ 620048 w 1104788"/>
                <a:gd name="connsiteY6" fmla="*/ 792563 h 792563"/>
                <a:gd name="connsiteX7" fmla="*/ 848814 w 1104788"/>
                <a:gd name="connsiteY7" fmla="*/ 628364 h 792563"/>
                <a:gd name="connsiteX8" fmla="*/ 1052545 w 1104788"/>
                <a:gd name="connsiteY8" fmla="*/ 384842 h 792563"/>
                <a:gd name="connsiteX9" fmla="*/ 1092440 w 1104788"/>
                <a:gd name="connsiteY9" fmla="*/ 39561 h 792563"/>
                <a:gd name="connsiteX0" fmla="*/ 1092440 w 1104788"/>
                <a:gd name="connsiteY0" fmla="*/ 39561 h 792563"/>
                <a:gd name="connsiteX1" fmla="*/ 688746 w 1104788"/>
                <a:gd name="connsiteY1" fmla="*/ 0 h 792563"/>
                <a:gd name="connsiteX2" fmla="*/ 675342 w 1104788"/>
                <a:gd name="connsiteY2" fmla="*/ 113941 h 792563"/>
                <a:gd name="connsiteX3" fmla="*/ 794311 w 1104788"/>
                <a:gd name="connsiteY3" fmla="*/ 164209 h 792563"/>
                <a:gd name="connsiteX4" fmla="*/ 581508 w 1104788"/>
                <a:gd name="connsiteY4" fmla="*/ 340151 h 792563"/>
                <a:gd name="connsiteX5" fmla="*/ 0 w 1104788"/>
                <a:gd name="connsiteY5" fmla="*/ 738209 h 792563"/>
                <a:gd name="connsiteX6" fmla="*/ 620048 w 1104788"/>
                <a:gd name="connsiteY6" fmla="*/ 792563 h 792563"/>
                <a:gd name="connsiteX7" fmla="*/ 848814 w 1104788"/>
                <a:gd name="connsiteY7" fmla="*/ 628364 h 792563"/>
                <a:gd name="connsiteX8" fmla="*/ 1052545 w 1104788"/>
                <a:gd name="connsiteY8" fmla="*/ 384842 h 792563"/>
                <a:gd name="connsiteX9" fmla="*/ 1092440 w 1104788"/>
                <a:gd name="connsiteY9" fmla="*/ 39561 h 792563"/>
                <a:gd name="connsiteX0" fmla="*/ 1092440 w 1104788"/>
                <a:gd name="connsiteY0" fmla="*/ 39561 h 792563"/>
                <a:gd name="connsiteX1" fmla="*/ 688746 w 1104788"/>
                <a:gd name="connsiteY1" fmla="*/ 0 h 792563"/>
                <a:gd name="connsiteX2" fmla="*/ 675342 w 1104788"/>
                <a:gd name="connsiteY2" fmla="*/ 103887 h 792563"/>
                <a:gd name="connsiteX3" fmla="*/ 794311 w 1104788"/>
                <a:gd name="connsiteY3" fmla="*/ 164209 h 792563"/>
                <a:gd name="connsiteX4" fmla="*/ 581508 w 1104788"/>
                <a:gd name="connsiteY4" fmla="*/ 340151 h 792563"/>
                <a:gd name="connsiteX5" fmla="*/ 0 w 1104788"/>
                <a:gd name="connsiteY5" fmla="*/ 738209 h 792563"/>
                <a:gd name="connsiteX6" fmla="*/ 620048 w 1104788"/>
                <a:gd name="connsiteY6" fmla="*/ 792563 h 792563"/>
                <a:gd name="connsiteX7" fmla="*/ 848814 w 1104788"/>
                <a:gd name="connsiteY7" fmla="*/ 628364 h 792563"/>
                <a:gd name="connsiteX8" fmla="*/ 1052545 w 1104788"/>
                <a:gd name="connsiteY8" fmla="*/ 384842 h 792563"/>
                <a:gd name="connsiteX9" fmla="*/ 1092440 w 1104788"/>
                <a:gd name="connsiteY9" fmla="*/ 39561 h 792563"/>
                <a:gd name="connsiteX0" fmla="*/ 1092440 w 1104788"/>
                <a:gd name="connsiteY0" fmla="*/ 39561 h 792563"/>
                <a:gd name="connsiteX1" fmla="*/ 688746 w 1104788"/>
                <a:gd name="connsiteY1" fmla="*/ 0 h 792563"/>
                <a:gd name="connsiteX2" fmla="*/ 675342 w 1104788"/>
                <a:gd name="connsiteY2" fmla="*/ 103887 h 792563"/>
                <a:gd name="connsiteX3" fmla="*/ 814419 w 1104788"/>
                <a:gd name="connsiteY3" fmla="*/ 167561 h 792563"/>
                <a:gd name="connsiteX4" fmla="*/ 581508 w 1104788"/>
                <a:gd name="connsiteY4" fmla="*/ 340151 h 792563"/>
                <a:gd name="connsiteX5" fmla="*/ 0 w 1104788"/>
                <a:gd name="connsiteY5" fmla="*/ 738209 h 792563"/>
                <a:gd name="connsiteX6" fmla="*/ 620048 w 1104788"/>
                <a:gd name="connsiteY6" fmla="*/ 792563 h 792563"/>
                <a:gd name="connsiteX7" fmla="*/ 848814 w 1104788"/>
                <a:gd name="connsiteY7" fmla="*/ 628364 h 792563"/>
                <a:gd name="connsiteX8" fmla="*/ 1052545 w 1104788"/>
                <a:gd name="connsiteY8" fmla="*/ 384842 h 792563"/>
                <a:gd name="connsiteX9" fmla="*/ 1092440 w 1104788"/>
                <a:gd name="connsiteY9" fmla="*/ 39561 h 792563"/>
                <a:gd name="connsiteX0" fmla="*/ 913709 w 926057"/>
                <a:gd name="connsiteY0" fmla="*/ 39561 h 792563"/>
                <a:gd name="connsiteX1" fmla="*/ 510015 w 926057"/>
                <a:gd name="connsiteY1" fmla="*/ 0 h 792563"/>
                <a:gd name="connsiteX2" fmla="*/ 496611 w 926057"/>
                <a:gd name="connsiteY2" fmla="*/ 103887 h 792563"/>
                <a:gd name="connsiteX3" fmla="*/ 635688 w 926057"/>
                <a:gd name="connsiteY3" fmla="*/ 167561 h 792563"/>
                <a:gd name="connsiteX4" fmla="*/ 402777 w 926057"/>
                <a:gd name="connsiteY4" fmla="*/ 340151 h 792563"/>
                <a:gd name="connsiteX5" fmla="*/ 0 w 926057"/>
                <a:gd name="connsiteY5" fmla="*/ 622721 h 792563"/>
                <a:gd name="connsiteX6" fmla="*/ 441317 w 926057"/>
                <a:gd name="connsiteY6" fmla="*/ 792563 h 792563"/>
                <a:gd name="connsiteX7" fmla="*/ 670083 w 926057"/>
                <a:gd name="connsiteY7" fmla="*/ 628364 h 792563"/>
                <a:gd name="connsiteX8" fmla="*/ 873814 w 926057"/>
                <a:gd name="connsiteY8" fmla="*/ 384842 h 792563"/>
                <a:gd name="connsiteX9" fmla="*/ 913709 w 926057"/>
                <a:gd name="connsiteY9" fmla="*/ 39561 h 792563"/>
                <a:gd name="connsiteX0" fmla="*/ 913709 w 926057"/>
                <a:gd name="connsiteY0" fmla="*/ 39561 h 792563"/>
                <a:gd name="connsiteX1" fmla="*/ 510015 w 926057"/>
                <a:gd name="connsiteY1" fmla="*/ 0 h 792563"/>
                <a:gd name="connsiteX2" fmla="*/ 496611 w 926057"/>
                <a:gd name="connsiteY2" fmla="*/ 103887 h 792563"/>
                <a:gd name="connsiteX3" fmla="*/ 635688 w 926057"/>
                <a:gd name="connsiteY3" fmla="*/ 167561 h 792563"/>
                <a:gd name="connsiteX4" fmla="*/ 402777 w 926057"/>
                <a:gd name="connsiteY4" fmla="*/ 340151 h 792563"/>
                <a:gd name="connsiteX5" fmla="*/ 0 w 926057"/>
                <a:gd name="connsiteY5" fmla="*/ 622721 h 792563"/>
                <a:gd name="connsiteX6" fmla="*/ 441317 w 926057"/>
                <a:gd name="connsiteY6" fmla="*/ 792563 h 792563"/>
                <a:gd name="connsiteX7" fmla="*/ 670083 w 926057"/>
                <a:gd name="connsiteY7" fmla="*/ 628364 h 792563"/>
                <a:gd name="connsiteX8" fmla="*/ 873814 w 926057"/>
                <a:gd name="connsiteY8" fmla="*/ 384842 h 792563"/>
                <a:gd name="connsiteX9" fmla="*/ 913709 w 926057"/>
                <a:gd name="connsiteY9" fmla="*/ 39561 h 792563"/>
                <a:gd name="connsiteX0" fmla="*/ 611241 w 884856"/>
                <a:gd name="connsiteY0" fmla="*/ 0 h 1135212"/>
                <a:gd name="connsiteX1" fmla="*/ 510015 w 884856"/>
                <a:gd name="connsiteY1" fmla="*/ 342649 h 1135212"/>
                <a:gd name="connsiteX2" fmla="*/ 496611 w 884856"/>
                <a:gd name="connsiteY2" fmla="*/ 446536 h 1135212"/>
                <a:gd name="connsiteX3" fmla="*/ 635688 w 884856"/>
                <a:gd name="connsiteY3" fmla="*/ 510210 h 1135212"/>
                <a:gd name="connsiteX4" fmla="*/ 402777 w 884856"/>
                <a:gd name="connsiteY4" fmla="*/ 682800 h 1135212"/>
                <a:gd name="connsiteX5" fmla="*/ 0 w 884856"/>
                <a:gd name="connsiteY5" fmla="*/ 965370 h 1135212"/>
                <a:gd name="connsiteX6" fmla="*/ 441317 w 884856"/>
                <a:gd name="connsiteY6" fmla="*/ 1135212 h 1135212"/>
                <a:gd name="connsiteX7" fmla="*/ 670083 w 884856"/>
                <a:gd name="connsiteY7" fmla="*/ 971013 h 1135212"/>
                <a:gd name="connsiteX8" fmla="*/ 873814 w 884856"/>
                <a:gd name="connsiteY8" fmla="*/ 727491 h 1135212"/>
                <a:gd name="connsiteX9" fmla="*/ 611241 w 884856"/>
                <a:gd name="connsiteY9" fmla="*/ 0 h 1135212"/>
                <a:gd name="connsiteX0" fmla="*/ 611241 w 912901"/>
                <a:gd name="connsiteY0" fmla="*/ 0 h 1135212"/>
                <a:gd name="connsiteX1" fmla="*/ 510015 w 912901"/>
                <a:gd name="connsiteY1" fmla="*/ 342649 h 1135212"/>
                <a:gd name="connsiteX2" fmla="*/ 496611 w 912901"/>
                <a:gd name="connsiteY2" fmla="*/ 446536 h 1135212"/>
                <a:gd name="connsiteX3" fmla="*/ 635688 w 912901"/>
                <a:gd name="connsiteY3" fmla="*/ 510210 h 1135212"/>
                <a:gd name="connsiteX4" fmla="*/ 402777 w 912901"/>
                <a:gd name="connsiteY4" fmla="*/ 682800 h 1135212"/>
                <a:gd name="connsiteX5" fmla="*/ 0 w 912901"/>
                <a:gd name="connsiteY5" fmla="*/ 965370 h 1135212"/>
                <a:gd name="connsiteX6" fmla="*/ 441317 w 912901"/>
                <a:gd name="connsiteY6" fmla="*/ 1135212 h 1135212"/>
                <a:gd name="connsiteX7" fmla="*/ 670083 w 912901"/>
                <a:gd name="connsiteY7" fmla="*/ 971013 h 1135212"/>
                <a:gd name="connsiteX8" fmla="*/ 873814 w 912901"/>
                <a:gd name="connsiteY8" fmla="*/ 727491 h 1135212"/>
                <a:gd name="connsiteX9" fmla="*/ 611241 w 912901"/>
                <a:gd name="connsiteY9" fmla="*/ 0 h 1135212"/>
                <a:gd name="connsiteX0" fmla="*/ 611241 w 912901"/>
                <a:gd name="connsiteY0" fmla="*/ 0 h 1135212"/>
                <a:gd name="connsiteX1" fmla="*/ 510015 w 912901"/>
                <a:gd name="connsiteY1" fmla="*/ 342649 h 1135212"/>
                <a:gd name="connsiteX2" fmla="*/ 635688 w 912901"/>
                <a:gd name="connsiteY2" fmla="*/ 510210 h 1135212"/>
                <a:gd name="connsiteX3" fmla="*/ 402777 w 912901"/>
                <a:gd name="connsiteY3" fmla="*/ 682800 h 1135212"/>
                <a:gd name="connsiteX4" fmla="*/ 0 w 912901"/>
                <a:gd name="connsiteY4" fmla="*/ 965370 h 1135212"/>
                <a:gd name="connsiteX5" fmla="*/ 441317 w 912901"/>
                <a:gd name="connsiteY5" fmla="*/ 1135212 h 1135212"/>
                <a:gd name="connsiteX6" fmla="*/ 670083 w 912901"/>
                <a:gd name="connsiteY6" fmla="*/ 971013 h 1135212"/>
                <a:gd name="connsiteX7" fmla="*/ 873814 w 912901"/>
                <a:gd name="connsiteY7" fmla="*/ 727491 h 1135212"/>
                <a:gd name="connsiteX8" fmla="*/ 611241 w 912901"/>
                <a:gd name="connsiteY8" fmla="*/ 0 h 1135212"/>
                <a:gd name="connsiteX0" fmla="*/ 611241 w 912901"/>
                <a:gd name="connsiteY0" fmla="*/ 0 h 1135212"/>
                <a:gd name="connsiteX1" fmla="*/ 510015 w 912901"/>
                <a:gd name="connsiteY1" fmla="*/ 342649 h 1135212"/>
                <a:gd name="connsiteX2" fmla="*/ 402777 w 912901"/>
                <a:gd name="connsiteY2" fmla="*/ 682800 h 1135212"/>
                <a:gd name="connsiteX3" fmla="*/ 0 w 912901"/>
                <a:gd name="connsiteY3" fmla="*/ 965370 h 1135212"/>
                <a:gd name="connsiteX4" fmla="*/ 441317 w 912901"/>
                <a:gd name="connsiteY4" fmla="*/ 1135212 h 1135212"/>
                <a:gd name="connsiteX5" fmla="*/ 670083 w 912901"/>
                <a:gd name="connsiteY5" fmla="*/ 971013 h 1135212"/>
                <a:gd name="connsiteX6" fmla="*/ 873814 w 912901"/>
                <a:gd name="connsiteY6" fmla="*/ 727491 h 1135212"/>
                <a:gd name="connsiteX7" fmla="*/ 611241 w 912901"/>
                <a:gd name="connsiteY7" fmla="*/ 0 h 1135212"/>
                <a:gd name="connsiteX0" fmla="*/ 1107620 w 1409280"/>
                <a:gd name="connsiteY0" fmla="*/ 0 h 1135212"/>
                <a:gd name="connsiteX1" fmla="*/ 1006394 w 1409280"/>
                <a:gd name="connsiteY1" fmla="*/ 342649 h 1135212"/>
                <a:gd name="connsiteX2" fmla="*/ 0 w 1409280"/>
                <a:gd name="connsiteY2" fmla="*/ 685550 h 1135212"/>
                <a:gd name="connsiteX3" fmla="*/ 496379 w 1409280"/>
                <a:gd name="connsiteY3" fmla="*/ 965370 h 1135212"/>
                <a:gd name="connsiteX4" fmla="*/ 937696 w 1409280"/>
                <a:gd name="connsiteY4" fmla="*/ 1135212 h 1135212"/>
                <a:gd name="connsiteX5" fmla="*/ 1166462 w 1409280"/>
                <a:gd name="connsiteY5" fmla="*/ 971013 h 1135212"/>
                <a:gd name="connsiteX6" fmla="*/ 1370193 w 1409280"/>
                <a:gd name="connsiteY6" fmla="*/ 727491 h 1135212"/>
                <a:gd name="connsiteX7" fmla="*/ 1107620 w 1409280"/>
                <a:gd name="connsiteY7" fmla="*/ 0 h 1135212"/>
                <a:gd name="connsiteX0" fmla="*/ 1107620 w 1409280"/>
                <a:gd name="connsiteY0" fmla="*/ 0 h 1135212"/>
                <a:gd name="connsiteX1" fmla="*/ 0 w 1409280"/>
                <a:gd name="connsiteY1" fmla="*/ 685550 h 1135212"/>
                <a:gd name="connsiteX2" fmla="*/ 496379 w 1409280"/>
                <a:gd name="connsiteY2" fmla="*/ 965370 h 1135212"/>
                <a:gd name="connsiteX3" fmla="*/ 937696 w 1409280"/>
                <a:gd name="connsiteY3" fmla="*/ 1135212 h 1135212"/>
                <a:gd name="connsiteX4" fmla="*/ 1166462 w 1409280"/>
                <a:gd name="connsiteY4" fmla="*/ 971013 h 1135212"/>
                <a:gd name="connsiteX5" fmla="*/ 1370193 w 1409280"/>
                <a:gd name="connsiteY5" fmla="*/ 727491 h 1135212"/>
                <a:gd name="connsiteX6" fmla="*/ 1107620 w 1409280"/>
                <a:gd name="connsiteY6" fmla="*/ 0 h 1135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9280" h="1135212">
                  <a:moveTo>
                    <a:pt x="1107620" y="0"/>
                  </a:moveTo>
                  <a:lnTo>
                    <a:pt x="0" y="685550"/>
                  </a:lnTo>
                  <a:lnTo>
                    <a:pt x="496379" y="965370"/>
                  </a:lnTo>
                  <a:cubicBezTo>
                    <a:pt x="703062" y="983488"/>
                    <a:pt x="772259" y="1075848"/>
                    <a:pt x="937696" y="1135212"/>
                  </a:cubicBezTo>
                  <a:cubicBezTo>
                    <a:pt x="1044671" y="1077128"/>
                    <a:pt x="1096351" y="1037474"/>
                    <a:pt x="1166462" y="971013"/>
                  </a:cubicBezTo>
                  <a:cubicBezTo>
                    <a:pt x="1244427" y="898218"/>
                    <a:pt x="1307363" y="837469"/>
                    <a:pt x="1370193" y="727491"/>
                  </a:cubicBezTo>
                  <a:cubicBezTo>
                    <a:pt x="1444664" y="566039"/>
                    <a:pt x="1440187" y="199433"/>
                    <a:pt x="1107620" y="0"/>
                  </a:cubicBezTo>
                  <a:close/>
                </a:path>
              </a:pathLst>
            </a:custGeom>
            <a:solidFill>
              <a:srgbClr val="ADC886"/>
            </a:solidFill>
            <a:ln w="12700" cap="rnd" cmpd="sng" algn="ctr">
              <a:noFill/>
              <a:prstDash val="solid"/>
              <a:round/>
              <a:headEnd type="none" w="med" len="med"/>
              <a:tailEnd type="none" w="med" len="med"/>
            </a:ln>
            <a:effectLst/>
            <a:extLst>
              <a:ext uri="{91240B29-F687-4F45-9708-019B960494DF}">
                <a14:hiddenLine xmlns:a14="http://schemas.microsoft.com/office/drawing/2010/main" w="12700" cap="rnd"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1200" dirty="0">
                <a:solidFill>
                  <a:srgbClr val="FFFFFF"/>
                </a:solidFill>
                <a:latin typeface="Trebuchet MS"/>
                <a:ea typeface="Meiryo UI"/>
              </a:endParaRPr>
            </a:p>
          </p:txBody>
        </p:sp>
        <p:pic>
          <p:nvPicPr>
            <p:cNvPr id="347" name="Picture 34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2338056" y="4392420"/>
              <a:ext cx="74200" cy="92972"/>
            </a:xfrm>
            <a:prstGeom prst="rect">
              <a:avLst/>
            </a:prstGeom>
          </p:spPr>
        </p:pic>
        <p:pic>
          <p:nvPicPr>
            <p:cNvPr id="348" name="Picture 34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2772001" y="4577151"/>
              <a:ext cx="74200" cy="92972"/>
            </a:xfrm>
            <a:prstGeom prst="rect">
              <a:avLst/>
            </a:prstGeom>
          </p:spPr>
        </p:pic>
        <p:pic>
          <p:nvPicPr>
            <p:cNvPr id="349" name="Picture 34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2311099" y="4488830"/>
              <a:ext cx="74200" cy="92972"/>
            </a:xfrm>
            <a:prstGeom prst="rect">
              <a:avLst/>
            </a:prstGeom>
          </p:spPr>
        </p:pic>
        <p:pic>
          <p:nvPicPr>
            <p:cNvPr id="350" name="Picture 34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2310392" y="4595316"/>
              <a:ext cx="74200" cy="92972"/>
            </a:xfrm>
            <a:prstGeom prst="rect">
              <a:avLst/>
            </a:prstGeom>
          </p:spPr>
        </p:pic>
        <p:pic>
          <p:nvPicPr>
            <p:cNvPr id="351" name="Picture 35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2343549" y="4706335"/>
              <a:ext cx="74200" cy="92972"/>
            </a:xfrm>
            <a:prstGeom prst="rect">
              <a:avLst/>
            </a:prstGeom>
          </p:spPr>
        </p:pic>
        <p:pic>
          <p:nvPicPr>
            <p:cNvPr id="352" name="Picture 35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2725114" y="4898969"/>
              <a:ext cx="74200" cy="92972"/>
            </a:xfrm>
            <a:prstGeom prst="rect">
              <a:avLst/>
            </a:prstGeom>
          </p:spPr>
        </p:pic>
        <p:pic>
          <p:nvPicPr>
            <p:cNvPr id="353" name="Picture 35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2662610" y="4947891"/>
              <a:ext cx="74200" cy="92972"/>
            </a:xfrm>
            <a:prstGeom prst="rect">
              <a:avLst/>
            </a:prstGeom>
          </p:spPr>
        </p:pic>
        <p:pic>
          <p:nvPicPr>
            <p:cNvPr id="354" name="Picture 35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2569539" y="4939646"/>
              <a:ext cx="74200" cy="92972"/>
            </a:xfrm>
            <a:prstGeom prst="rect">
              <a:avLst/>
            </a:prstGeom>
          </p:spPr>
        </p:pic>
        <p:pic>
          <p:nvPicPr>
            <p:cNvPr id="355" name="Picture 35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112342" y="4130531"/>
              <a:ext cx="43039" cy="117107"/>
            </a:xfrm>
            <a:prstGeom prst="rect">
              <a:avLst/>
            </a:prstGeom>
          </p:spPr>
        </p:pic>
        <p:sp>
          <p:nvSpPr>
            <p:cNvPr id="356" name="Rectangle 395"/>
            <p:cNvSpPr/>
            <p:nvPr/>
          </p:nvSpPr>
          <p:spPr>
            <a:xfrm>
              <a:off x="4552038" y="3749346"/>
              <a:ext cx="1157388" cy="516120"/>
            </a:xfrm>
            <a:custGeom>
              <a:avLst/>
              <a:gdLst>
                <a:gd name="connsiteX0" fmla="*/ 0 w 793501"/>
                <a:gd name="connsiteY0" fmla="*/ 0 h 577038"/>
                <a:gd name="connsiteX1" fmla="*/ 793501 w 793501"/>
                <a:gd name="connsiteY1" fmla="*/ 0 h 577038"/>
                <a:gd name="connsiteX2" fmla="*/ 793501 w 793501"/>
                <a:gd name="connsiteY2" fmla="*/ 577038 h 577038"/>
                <a:gd name="connsiteX3" fmla="*/ 0 w 793501"/>
                <a:gd name="connsiteY3" fmla="*/ 577038 h 577038"/>
                <a:gd name="connsiteX4" fmla="*/ 0 w 793501"/>
                <a:gd name="connsiteY4" fmla="*/ 0 h 577038"/>
                <a:gd name="connsiteX0" fmla="*/ 0 w 844301"/>
                <a:gd name="connsiteY0" fmla="*/ 0 h 577038"/>
                <a:gd name="connsiteX1" fmla="*/ 844301 w 844301"/>
                <a:gd name="connsiteY1" fmla="*/ 0 h 577038"/>
                <a:gd name="connsiteX2" fmla="*/ 844301 w 844301"/>
                <a:gd name="connsiteY2" fmla="*/ 577038 h 577038"/>
                <a:gd name="connsiteX3" fmla="*/ 50800 w 844301"/>
                <a:gd name="connsiteY3" fmla="*/ 577038 h 577038"/>
                <a:gd name="connsiteX4" fmla="*/ 0 w 844301"/>
                <a:gd name="connsiteY4" fmla="*/ 0 h 577038"/>
                <a:gd name="connsiteX0" fmla="*/ 450850 w 1295151"/>
                <a:gd name="connsiteY0" fmla="*/ 0 h 811988"/>
                <a:gd name="connsiteX1" fmla="*/ 1295151 w 1295151"/>
                <a:gd name="connsiteY1" fmla="*/ 0 h 811988"/>
                <a:gd name="connsiteX2" fmla="*/ 1295151 w 1295151"/>
                <a:gd name="connsiteY2" fmla="*/ 577038 h 811988"/>
                <a:gd name="connsiteX3" fmla="*/ 0 w 1295151"/>
                <a:gd name="connsiteY3" fmla="*/ 811988 h 811988"/>
                <a:gd name="connsiteX4" fmla="*/ 450850 w 1295151"/>
                <a:gd name="connsiteY4" fmla="*/ 0 h 811988"/>
                <a:gd name="connsiteX0" fmla="*/ 450850 w 1295151"/>
                <a:gd name="connsiteY0" fmla="*/ 0 h 811988"/>
                <a:gd name="connsiteX1" fmla="*/ 1295151 w 1295151"/>
                <a:gd name="connsiteY1" fmla="*/ 0 h 811988"/>
                <a:gd name="connsiteX2" fmla="*/ 1295151 w 1295151"/>
                <a:gd name="connsiteY2" fmla="*/ 577038 h 811988"/>
                <a:gd name="connsiteX3" fmla="*/ 0 w 1295151"/>
                <a:gd name="connsiteY3" fmla="*/ 811988 h 811988"/>
                <a:gd name="connsiteX4" fmla="*/ 450850 w 1295151"/>
                <a:gd name="connsiteY4" fmla="*/ 0 h 811988"/>
                <a:gd name="connsiteX0" fmla="*/ 450850 w 1295151"/>
                <a:gd name="connsiteY0" fmla="*/ 0 h 913588"/>
                <a:gd name="connsiteX1" fmla="*/ 1295151 w 1295151"/>
                <a:gd name="connsiteY1" fmla="*/ 0 h 913588"/>
                <a:gd name="connsiteX2" fmla="*/ 1104651 w 1295151"/>
                <a:gd name="connsiteY2" fmla="*/ 913588 h 913588"/>
                <a:gd name="connsiteX3" fmla="*/ 0 w 1295151"/>
                <a:gd name="connsiteY3" fmla="*/ 811988 h 913588"/>
                <a:gd name="connsiteX4" fmla="*/ 450850 w 1295151"/>
                <a:gd name="connsiteY4" fmla="*/ 0 h 913588"/>
                <a:gd name="connsiteX0" fmla="*/ 450850 w 1403101"/>
                <a:gd name="connsiteY0" fmla="*/ 0 h 913588"/>
                <a:gd name="connsiteX1" fmla="*/ 1403101 w 1403101"/>
                <a:gd name="connsiteY1" fmla="*/ 120650 h 913588"/>
                <a:gd name="connsiteX2" fmla="*/ 1104651 w 1403101"/>
                <a:gd name="connsiteY2" fmla="*/ 913588 h 913588"/>
                <a:gd name="connsiteX3" fmla="*/ 0 w 1403101"/>
                <a:gd name="connsiteY3" fmla="*/ 811988 h 913588"/>
                <a:gd name="connsiteX4" fmla="*/ 450850 w 1403101"/>
                <a:gd name="connsiteY4" fmla="*/ 0 h 913588"/>
                <a:gd name="connsiteX0" fmla="*/ 450850 w 1657101"/>
                <a:gd name="connsiteY0" fmla="*/ 0 h 913588"/>
                <a:gd name="connsiteX1" fmla="*/ 1657101 w 1657101"/>
                <a:gd name="connsiteY1" fmla="*/ 177800 h 913588"/>
                <a:gd name="connsiteX2" fmla="*/ 1104651 w 1657101"/>
                <a:gd name="connsiteY2" fmla="*/ 913588 h 913588"/>
                <a:gd name="connsiteX3" fmla="*/ 0 w 1657101"/>
                <a:gd name="connsiteY3" fmla="*/ 811988 h 913588"/>
                <a:gd name="connsiteX4" fmla="*/ 450850 w 1657101"/>
                <a:gd name="connsiteY4" fmla="*/ 0 h 913588"/>
                <a:gd name="connsiteX0" fmla="*/ 450850 w 1657101"/>
                <a:gd name="connsiteY0" fmla="*/ 0 h 913588"/>
                <a:gd name="connsiteX1" fmla="*/ 1657101 w 1657101"/>
                <a:gd name="connsiteY1" fmla="*/ 177800 h 913588"/>
                <a:gd name="connsiteX2" fmla="*/ 1104651 w 1657101"/>
                <a:gd name="connsiteY2" fmla="*/ 913588 h 913588"/>
                <a:gd name="connsiteX3" fmla="*/ 0 w 1657101"/>
                <a:gd name="connsiteY3" fmla="*/ 811988 h 913588"/>
                <a:gd name="connsiteX4" fmla="*/ 450850 w 1657101"/>
                <a:gd name="connsiteY4" fmla="*/ 0 h 913588"/>
                <a:gd name="connsiteX0" fmla="*/ 450850 w 1657101"/>
                <a:gd name="connsiteY0" fmla="*/ 0 h 913588"/>
                <a:gd name="connsiteX1" fmla="*/ 1657101 w 1657101"/>
                <a:gd name="connsiteY1" fmla="*/ 177800 h 913588"/>
                <a:gd name="connsiteX2" fmla="*/ 1104651 w 1657101"/>
                <a:gd name="connsiteY2" fmla="*/ 913588 h 913588"/>
                <a:gd name="connsiteX3" fmla="*/ 0 w 1657101"/>
                <a:gd name="connsiteY3" fmla="*/ 811988 h 913588"/>
                <a:gd name="connsiteX4" fmla="*/ 450850 w 1657101"/>
                <a:gd name="connsiteY4" fmla="*/ 0 h 913588"/>
                <a:gd name="connsiteX0" fmla="*/ 450850 w 1938455"/>
                <a:gd name="connsiteY0" fmla="*/ 0 h 913588"/>
                <a:gd name="connsiteX1" fmla="*/ 1938455 w 1938455"/>
                <a:gd name="connsiteY1" fmla="*/ 181708 h 913588"/>
                <a:gd name="connsiteX2" fmla="*/ 1104651 w 1938455"/>
                <a:gd name="connsiteY2" fmla="*/ 913588 h 913588"/>
                <a:gd name="connsiteX3" fmla="*/ 0 w 1938455"/>
                <a:gd name="connsiteY3" fmla="*/ 811988 h 913588"/>
                <a:gd name="connsiteX4" fmla="*/ 450850 w 1938455"/>
                <a:gd name="connsiteY4" fmla="*/ 0 h 913588"/>
                <a:gd name="connsiteX0" fmla="*/ 450850 w 1938455"/>
                <a:gd name="connsiteY0" fmla="*/ 0 h 917495"/>
                <a:gd name="connsiteX1" fmla="*/ 1938455 w 1938455"/>
                <a:gd name="connsiteY1" fmla="*/ 181708 h 917495"/>
                <a:gd name="connsiteX2" fmla="*/ 1190620 w 1938455"/>
                <a:gd name="connsiteY2" fmla="*/ 917495 h 917495"/>
                <a:gd name="connsiteX3" fmla="*/ 0 w 1938455"/>
                <a:gd name="connsiteY3" fmla="*/ 811988 h 917495"/>
                <a:gd name="connsiteX4" fmla="*/ 450850 w 1938455"/>
                <a:gd name="connsiteY4" fmla="*/ 0 h 917495"/>
                <a:gd name="connsiteX0" fmla="*/ 450850 w 1938455"/>
                <a:gd name="connsiteY0" fmla="*/ 0 h 937033"/>
                <a:gd name="connsiteX1" fmla="*/ 1938455 w 1938455"/>
                <a:gd name="connsiteY1" fmla="*/ 181708 h 937033"/>
                <a:gd name="connsiteX2" fmla="*/ 1214066 w 1938455"/>
                <a:gd name="connsiteY2" fmla="*/ 937033 h 937033"/>
                <a:gd name="connsiteX3" fmla="*/ 0 w 1938455"/>
                <a:gd name="connsiteY3" fmla="*/ 811988 h 937033"/>
                <a:gd name="connsiteX4" fmla="*/ 450850 w 1938455"/>
                <a:gd name="connsiteY4" fmla="*/ 0 h 937033"/>
                <a:gd name="connsiteX0" fmla="*/ 450850 w 2016609"/>
                <a:gd name="connsiteY0" fmla="*/ 0 h 937033"/>
                <a:gd name="connsiteX1" fmla="*/ 2016609 w 2016609"/>
                <a:gd name="connsiteY1" fmla="*/ 236415 h 937033"/>
                <a:gd name="connsiteX2" fmla="*/ 1214066 w 2016609"/>
                <a:gd name="connsiteY2" fmla="*/ 937033 h 937033"/>
                <a:gd name="connsiteX3" fmla="*/ 0 w 2016609"/>
                <a:gd name="connsiteY3" fmla="*/ 811988 h 937033"/>
                <a:gd name="connsiteX4" fmla="*/ 450850 w 2016609"/>
                <a:gd name="connsiteY4" fmla="*/ 0 h 937033"/>
                <a:gd name="connsiteX0" fmla="*/ 450850 w 2016609"/>
                <a:gd name="connsiteY0" fmla="*/ 0 h 894048"/>
                <a:gd name="connsiteX1" fmla="*/ 2016609 w 2016609"/>
                <a:gd name="connsiteY1" fmla="*/ 236415 h 894048"/>
                <a:gd name="connsiteX2" fmla="*/ 1046035 w 2016609"/>
                <a:gd name="connsiteY2" fmla="*/ 894048 h 894048"/>
                <a:gd name="connsiteX3" fmla="*/ 0 w 2016609"/>
                <a:gd name="connsiteY3" fmla="*/ 811988 h 894048"/>
                <a:gd name="connsiteX4" fmla="*/ 450850 w 2016609"/>
                <a:gd name="connsiteY4" fmla="*/ 0 h 894048"/>
                <a:gd name="connsiteX0" fmla="*/ 450850 w 2004886"/>
                <a:gd name="connsiteY0" fmla="*/ 0 h 894048"/>
                <a:gd name="connsiteX1" fmla="*/ 2004886 w 2004886"/>
                <a:gd name="connsiteY1" fmla="*/ 263769 h 894048"/>
                <a:gd name="connsiteX2" fmla="*/ 1046035 w 2004886"/>
                <a:gd name="connsiteY2" fmla="*/ 894048 h 894048"/>
                <a:gd name="connsiteX3" fmla="*/ 0 w 2004886"/>
                <a:gd name="connsiteY3" fmla="*/ 811988 h 894048"/>
                <a:gd name="connsiteX4" fmla="*/ 450850 w 2004886"/>
                <a:gd name="connsiteY4" fmla="*/ 0 h 8940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4886" h="894048">
                  <a:moveTo>
                    <a:pt x="450850" y="0"/>
                  </a:moveTo>
                  <a:cubicBezTo>
                    <a:pt x="840234" y="14817"/>
                    <a:pt x="1278952" y="71152"/>
                    <a:pt x="2004886" y="263769"/>
                  </a:cubicBezTo>
                  <a:lnTo>
                    <a:pt x="1046035" y="894048"/>
                  </a:lnTo>
                  <a:lnTo>
                    <a:pt x="0" y="811988"/>
                  </a:lnTo>
                  <a:lnTo>
                    <a:pt x="450850" y="0"/>
                  </a:lnTo>
                  <a:close/>
                </a:path>
              </a:pathLst>
            </a:custGeom>
            <a:solidFill>
              <a:srgbClr val="ADC886"/>
            </a:solidFill>
            <a:ln w="12700" cap="rnd" cmpd="sng" algn="ctr">
              <a:noFill/>
              <a:prstDash val="solid"/>
              <a:round/>
              <a:headEnd type="none" w="med" len="med"/>
              <a:tailEnd type="none" w="med" len="med"/>
            </a:ln>
            <a:effectLst/>
            <a:extLst>
              <a:ext uri="{91240B29-F687-4F45-9708-019B960494DF}">
                <a14:hiddenLine xmlns:a14="http://schemas.microsoft.com/office/drawing/2010/main" w="12700" cap="rnd"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1200" dirty="0">
                <a:solidFill>
                  <a:srgbClr val="FFFFFF"/>
                </a:solidFill>
                <a:latin typeface="Trebuchet MS"/>
                <a:ea typeface="Meiryo UI"/>
              </a:endParaRPr>
            </a:p>
          </p:txBody>
        </p:sp>
        <p:sp>
          <p:nvSpPr>
            <p:cNvPr id="357" name="Freeform 356"/>
            <p:cNvSpPr/>
            <p:nvPr/>
          </p:nvSpPr>
          <p:spPr bwMode="auto">
            <a:xfrm>
              <a:off x="4666712" y="3902970"/>
              <a:ext cx="555949" cy="296555"/>
            </a:xfrm>
            <a:custGeom>
              <a:avLst/>
              <a:gdLst>
                <a:gd name="connsiteX0" fmla="*/ 0 w 626533"/>
                <a:gd name="connsiteY0" fmla="*/ 0 h 351366"/>
                <a:gd name="connsiteX1" fmla="*/ 6350 w 626533"/>
                <a:gd name="connsiteY1" fmla="*/ 296333 h 351366"/>
                <a:gd name="connsiteX2" fmla="*/ 626533 w 626533"/>
                <a:gd name="connsiteY2" fmla="*/ 351366 h 351366"/>
                <a:gd name="connsiteX3" fmla="*/ 0 w 626533"/>
                <a:gd name="connsiteY3" fmla="*/ 0 h 351366"/>
                <a:gd name="connsiteX0" fmla="*/ 0 w 626533"/>
                <a:gd name="connsiteY0" fmla="*/ 0 h 351366"/>
                <a:gd name="connsiteX1" fmla="*/ 29634 w 626533"/>
                <a:gd name="connsiteY1" fmla="*/ 294217 h 351366"/>
                <a:gd name="connsiteX2" fmla="*/ 626533 w 626533"/>
                <a:gd name="connsiteY2" fmla="*/ 351366 h 351366"/>
                <a:gd name="connsiteX3" fmla="*/ 0 w 626533"/>
                <a:gd name="connsiteY3" fmla="*/ 0 h 351366"/>
                <a:gd name="connsiteX0" fmla="*/ 41944 w 668477"/>
                <a:gd name="connsiteY0" fmla="*/ 0 h 351366"/>
                <a:gd name="connsiteX1" fmla="*/ 71578 w 668477"/>
                <a:gd name="connsiteY1" fmla="*/ 294217 h 351366"/>
                <a:gd name="connsiteX2" fmla="*/ 668477 w 668477"/>
                <a:gd name="connsiteY2" fmla="*/ 351366 h 351366"/>
                <a:gd name="connsiteX3" fmla="*/ 41944 w 668477"/>
                <a:gd name="connsiteY3" fmla="*/ 0 h 351366"/>
                <a:gd name="connsiteX0" fmla="*/ 70928 w 697461"/>
                <a:gd name="connsiteY0" fmla="*/ 0 h 351366"/>
                <a:gd name="connsiteX1" fmla="*/ 100562 w 697461"/>
                <a:gd name="connsiteY1" fmla="*/ 294217 h 351366"/>
                <a:gd name="connsiteX2" fmla="*/ 697461 w 697461"/>
                <a:gd name="connsiteY2" fmla="*/ 351366 h 351366"/>
                <a:gd name="connsiteX3" fmla="*/ 70928 w 697461"/>
                <a:gd name="connsiteY3" fmla="*/ 0 h 351366"/>
                <a:gd name="connsiteX0" fmla="*/ 70928 w 697461"/>
                <a:gd name="connsiteY0" fmla="*/ 0 h 351366"/>
                <a:gd name="connsiteX1" fmla="*/ 100562 w 697461"/>
                <a:gd name="connsiteY1" fmla="*/ 294217 h 351366"/>
                <a:gd name="connsiteX2" fmla="*/ 697461 w 697461"/>
                <a:gd name="connsiteY2" fmla="*/ 351366 h 351366"/>
                <a:gd name="connsiteX3" fmla="*/ 70928 w 697461"/>
                <a:gd name="connsiteY3" fmla="*/ 0 h 351366"/>
                <a:gd name="connsiteX0" fmla="*/ 70928 w 697461"/>
                <a:gd name="connsiteY0" fmla="*/ 0 h 362511"/>
                <a:gd name="connsiteX1" fmla="*/ 100562 w 697461"/>
                <a:gd name="connsiteY1" fmla="*/ 294217 h 362511"/>
                <a:gd name="connsiteX2" fmla="*/ 697461 w 697461"/>
                <a:gd name="connsiteY2" fmla="*/ 351366 h 362511"/>
                <a:gd name="connsiteX3" fmla="*/ 70928 w 697461"/>
                <a:gd name="connsiteY3" fmla="*/ 0 h 362511"/>
                <a:gd name="connsiteX0" fmla="*/ 64697 w 691230"/>
                <a:gd name="connsiteY0" fmla="*/ 0 h 362511"/>
                <a:gd name="connsiteX1" fmla="*/ 107031 w 691230"/>
                <a:gd name="connsiteY1" fmla="*/ 294217 h 362511"/>
                <a:gd name="connsiteX2" fmla="*/ 691230 w 691230"/>
                <a:gd name="connsiteY2" fmla="*/ 351366 h 362511"/>
                <a:gd name="connsiteX3" fmla="*/ 64697 w 691230"/>
                <a:gd name="connsiteY3" fmla="*/ 0 h 362511"/>
                <a:gd name="connsiteX0" fmla="*/ 61692 w 688225"/>
                <a:gd name="connsiteY0" fmla="*/ 0 h 362511"/>
                <a:gd name="connsiteX1" fmla="*/ 104026 w 688225"/>
                <a:gd name="connsiteY1" fmla="*/ 294217 h 362511"/>
                <a:gd name="connsiteX2" fmla="*/ 688225 w 688225"/>
                <a:gd name="connsiteY2" fmla="*/ 351366 h 362511"/>
                <a:gd name="connsiteX3" fmla="*/ 61692 w 688225"/>
                <a:gd name="connsiteY3" fmla="*/ 0 h 362511"/>
                <a:gd name="connsiteX0" fmla="*/ 61692 w 688225"/>
                <a:gd name="connsiteY0" fmla="*/ 0 h 356610"/>
                <a:gd name="connsiteX1" fmla="*/ 104026 w 688225"/>
                <a:gd name="connsiteY1" fmla="*/ 294217 h 356610"/>
                <a:gd name="connsiteX2" fmla="*/ 688225 w 688225"/>
                <a:gd name="connsiteY2" fmla="*/ 351366 h 356610"/>
                <a:gd name="connsiteX3" fmla="*/ 61692 w 688225"/>
                <a:gd name="connsiteY3" fmla="*/ 0 h 356610"/>
                <a:gd name="connsiteX0" fmla="*/ 61692 w 688225"/>
                <a:gd name="connsiteY0" fmla="*/ 0 h 323063"/>
                <a:gd name="connsiteX1" fmla="*/ 104026 w 688225"/>
                <a:gd name="connsiteY1" fmla="*/ 294217 h 323063"/>
                <a:gd name="connsiteX2" fmla="*/ 688225 w 688225"/>
                <a:gd name="connsiteY2" fmla="*/ 301982 h 323063"/>
                <a:gd name="connsiteX3" fmla="*/ 61692 w 688225"/>
                <a:gd name="connsiteY3" fmla="*/ 0 h 323063"/>
                <a:gd name="connsiteX0" fmla="*/ 255065 w 881598"/>
                <a:gd name="connsiteY0" fmla="*/ 0 h 496924"/>
                <a:gd name="connsiteX1" fmla="*/ 38668 w 881598"/>
                <a:gd name="connsiteY1" fmla="*/ 489898 h 496924"/>
                <a:gd name="connsiteX2" fmla="*/ 881598 w 881598"/>
                <a:gd name="connsiteY2" fmla="*/ 301982 h 496924"/>
                <a:gd name="connsiteX3" fmla="*/ 255065 w 881598"/>
                <a:gd name="connsiteY3" fmla="*/ 0 h 496924"/>
                <a:gd name="connsiteX0" fmla="*/ 255065 w 890853"/>
                <a:gd name="connsiteY0" fmla="*/ 0 h 503241"/>
                <a:gd name="connsiteX1" fmla="*/ 38668 w 890853"/>
                <a:gd name="connsiteY1" fmla="*/ 489898 h 503241"/>
                <a:gd name="connsiteX2" fmla="*/ 589015 w 890853"/>
                <a:gd name="connsiteY2" fmla="*/ 359243 h 503241"/>
                <a:gd name="connsiteX3" fmla="*/ 881598 w 890853"/>
                <a:gd name="connsiteY3" fmla="*/ 301982 h 503241"/>
                <a:gd name="connsiteX4" fmla="*/ 255065 w 890853"/>
                <a:gd name="connsiteY4" fmla="*/ 0 h 503241"/>
                <a:gd name="connsiteX0" fmla="*/ 255065 w 881598"/>
                <a:gd name="connsiteY0" fmla="*/ 0 h 499662"/>
                <a:gd name="connsiteX1" fmla="*/ 38668 w 881598"/>
                <a:gd name="connsiteY1" fmla="*/ 489898 h 499662"/>
                <a:gd name="connsiteX2" fmla="*/ 881598 w 881598"/>
                <a:gd name="connsiteY2" fmla="*/ 301982 h 499662"/>
                <a:gd name="connsiteX3" fmla="*/ 255065 w 881598"/>
                <a:gd name="connsiteY3" fmla="*/ 0 h 499662"/>
                <a:gd name="connsiteX0" fmla="*/ 255065 w 891819"/>
                <a:gd name="connsiteY0" fmla="*/ 0 h 511682"/>
                <a:gd name="connsiteX1" fmla="*/ 38668 w 891819"/>
                <a:gd name="connsiteY1" fmla="*/ 489898 h 511682"/>
                <a:gd name="connsiteX2" fmla="*/ 600514 w 891819"/>
                <a:gd name="connsiteY2" fmla="*/ 413600 h 511682"/>
                <a:gd name="connsiteX3" fmla="*/ 881598 w 891819"/>
                <a:gd name="connsiteY3" fmla="*/ 301982 h 511682"/>
                <a:gd name="connsiteX4" fmla="*/ 255065 w 891819"/>
                <a:gd name="connsiteY4" fmla="*/ 0 h 511682"/>
                <a:gd name="connsiteX0" fmla="*/ 255065 w 927902"/>
                <a:gd name="connsiteY0" fmla="*/ 0 h 662969"/>
                <a:gd name="connsiteX1" fmla="*/ 38668 w 927902"/>
                <a:gd name="connsiteY1" fmla="*/ 489898 h 662969"/>
                <a:gd name="connsiteX2" fmla="*/ 824748 w 927902"/>
                <a:gd name="connsiteY2" fmla="*/ 658202 h 662969"/>
                <a:gd name="connsiteX3" fmla="*/ 881598 w 927902"/>
                <a:gd name="connsiteY3" fmla="*/ 301982 h 662969"/>
                <a:gd name="connsiteX4" fmla="*/ 255065 w 927902"/>
                <a:gd name="connsiteY4" fmla="*/ 0 h 662969"/>
                <a:gd name="connsiteX0" fmla="*/ 255065 w 1110541"/>
                <a:gd name="connsiteY0" fmla="*/ 0 h 662968"/>
                <a:gd name="connsiteX1" fmla="*/ 38668 w 1110541"/>
                <a:gd name="connsiteY1" fmla="*/ 489898 h 662968"/>
                <a:gd name="connsiteX2" fmla="*/ 824748 w 1110541"/>
                <a:gd name="connsiteY2" fmla="*/ 658202 h 662968"/>
                <a:gd name="connsiteX3" fmla="*/ 1100080 w 1110541"/>
                <a:gd name="connsiteY3" fmla="*/ 470487 h 662968"/>
                <a:gd name="connsiteX4" fmla="*/ 255065 w 1110541"/>
                <a:gd name="connsiteY4" fmla="*/ 0 h 662968"/>
                <a:gd name="connsiteX0" fmla="*/ 255065 w 1109440"/>
                <a:gd name="connsiteY0" fmla="*/ 0 h 732147"/>
                <a:gd name="connsiteX1" fmla="*/ 38668 w 1109440"/>
                <a:gd name="connsiteY1" fmla="*/ 489898 h 732147"/>
                <a:gd name="connsiteX2" fmla="*/ 796000 w 1109440"/>
                <a:gd name="connsiteY2" fmla="*/ 728865 h 732147"/>
                <a:gd name="connsiteX3" fmla="*/ 1100080 w 1109440"/>
                <a:gd name="connsiteY3" fmla="*/ 470487 h 732147"/>
                <a:gd name="connsiteX4" fmla="*/ 255065 w 1109440"/>
                <a:gd name="connsiteY4" fmla="*/ 0 h 732147"/>
                <a:gd name="connsiteX0" fmla="*/ 355703 w 1210078"/>
                <a:gd name="connsiteY0" fmla="*/ 0 h 735430"/>
                <a:gd name="connsiteX1" fmla="*/ 30064 w 1210078"/>
                <a:gd name="connsiteY1" fmla="*/ 604047 h 735430"/>
                <a:gd name="connsiteX2" fmla="*/ 896638 w 1210078"/>
                <a:gd name="connsiteY2" fmla="*/ 728865 h 735430"/>
                <a:gd name="connsiteX3" fmla="*/ 1200718 w 1210078"/>
                <a:gd name="connsiteY3" fmla="*/ 470487 h 735430"/>
                <a:gd name="connsiteX4" fmla="*/ 355703 w 1210078"/>
                <a:gd name="connsiteY4" fmla="*/ 0 h 735430"/>
                <a:gd name="connsiteX0" fmla="*/ 355703 w 1211969"/>
                <a:gd name="connsiteY0" fmla="*/ 0 h 756134"/>
                <a:gd name="connsiteX1" fmla="*/ 30064 w 1211969"/>
                <a:gd name="connsiteY1" fmla="*/ 604047 h 756134"/>
                <a:gd name="connsiteX2" fmla="*/ 942635 w 1211969"/>
                <a:gd name="connsiteY2" fmla="*/ 750606 h 756134"/>
                <a:gd name="connsiteX3" fmla="*/ 1200718 w 1211969"/>
                <a:gd name="connsiteY3" fmla="*/ 470487 h 756134"/>
                <a:gd name="connsiteX4" fmla="*/ 355703 w 1211969"/>
                <a:gd name="connsiteY4" fmla="*/ 0 h 756134"/>
                <a:gd name="connsiteX0" fmla="*/ 355703 w 1211969"/>
                <a:gd name="connsiteY0" fmla="*/ 0 h 754703"/>
                <a:gd name="connsiteX1" fmla="*/ 30064 w 1211969"/>
                <a:gd name="connsiteY1" fmla="*/ 604047 h 754703"/>
                <a:gd name="connsiteX2" fmla="*/ 942635 w 1211969"/>
                <a:gd name="connsiteY2" fmla="*/ 750606 h 754703"/>
                <a:gd name="connsiteX3" fmla="*/ 1200718 w 1211969"/>
                <a:gd name="connsiteY3" fmla="*/ 470487 h 754703"/>
                <a:gd name="connsiteX4" fmla="*/ 355703 w 1211969"/>
                <a:gd name="connsiteY4" fmla="*/ 0 h 754703"/>
                <a:gd name="connsiteX0" fmla="*/ 355703 w 1210340"/>
                <a:gd name="connsiteY0" fmla="*/ 0 h 754703"/>
                <a:gd name="connsiteX1" fmla="*/ 30064 w 1210340"/>
                <a:gd name="connsiteY1" fmla="*/ 604047 h 754703"/>
                <a:gd name="connsiteX2" fmla="*/ 942635 w 1210340"/>
                <a:gd name="connsiteY2" fmla="*/ 750606 h 754703"/>
                <a:gd name="connsiteX3" fmla="*/ 1200718 w 1210340"/>
                <a:gd name="connsiteY3" fmla="*/ 470487 h 754703"/>
                <a:gd name="connsiteX4" fmla="*/ 355703 w 1210340"/>
                <a:gd name="connsiteY4" fmla="*/ 0 h 754703"/>
                <a:gd name="connsiteX0" fmla="*/ 355703 w 1232565"/>
                <a:gd name="connsiteY0" fmla="*/ 0 h 754703"/>
                <a:gd name="connsiteX1" fmla="*/ 30064 w 1232565"/>
                <a:gd name="connsiteY1" fmla="*/ 604047 h 754703"/>
                <a:gd name="connsiteX2" fmla="*/ 942635 w 1232565"/>
                <a:gd name="connsiteY2" fmla="*/ 750606 h 754703"/>
                <a:gd name="connsiteX3" fmla="*/ 1223716 w 1232565"/>
                <a:gd name="connsiteY3" fmla="*/ 465052 h 754703"/>
                <a:gd name="connsiteX4" fmla="*/ 355703 w 1232565"/>
                <a:gd name="connsiteY4" fmla="*/ 0 h 754703"/>
                <a:gd name="connsiteX0" fmla="*/ 355703 w 1232565"/>
                <a:gd name="connsiteY0" fmla="*/ 0 h 750606"/>
                <a:gd name="connsiteX1" fmla="*/ 30064 w 1232565"/>
                <a:gd name="connsiteY1" fmla="*/ 604047 h 750606"/>
                <a:gd name="connsiteX2" fmla="*/ 942635 w 1232565"/>
                <a:gd name="connsiteY2" fmla="*/ 750606 h 750606"/>
                <a:gd name="connsiteX3" fmla="*/ 1223716 w 1232565"/>
                <a:gd name="connsiteY3" fmla="*/ 465052 h 750606"/>
                <a:gd name="connsiteX4" fmla="*/ 355703 w 1232565"/>
                <a:gd name="connsiteY4" fmla="*/ 0 h 750606"/>
                <a:gd name="connsiteX0" fmla="*/ 355703 w 1232565"/>
                <a:gd name="connsiteY0" fmla="*/ 0 h 750606"/>
                <a:gd name="connsiteX1" fmla="*/ 30064 w 1232565"/>
                <a:gd name="connsiteY1" fmla="*/ 604047 h 750606"/>
                <a:gd name="connsiteX2" fmla="*/ 942635 w 1232565"/>
                <a:gd name="connsiteY2" fmla="*/ 750606 h 750606"/>
                <a:gd name="connsiteX3" fmla="*/ 1223716 w 1232565"/>
                <a:gd name="connsiteY3" fmla="*/ 465052 h 750606"/>
                <a:gd name="connsiteX4" fmla="*/ 355703 w 1232565"/>
                <a:gd name="connsiteY4" fmla="*/ 0 h 750606"/>
                <a:gd name="connsiteX0" fmla="*/ 388215 w 1265077"/>
                <a:gd name="connsiteY0" fmla="*/ 0 h 750606"/>
                <a:gd name="connsiteX1" fmla="*/ 28079 w 1265077"/>
                <a:gd name="connsiteY1" fmla="*/ 631225 h 750606"/>
                <a:gd name="connsiteX2" fmla="*/ 975147 w 1265077"/>
                <a:gd name="connsiteY2" fmla="*/ 750606 h 750606"/>
                <a:gd name="connsiteX3" fmla="*/ 1256228 w 1265077"/>
                <a:gd name="connsiteY3" fmla="*/ 465052 h 750606"/>
                <a:gd name="connsiteX4" fmla="*/ 388215 w 1265077"/>
                <a:gd name="connsiteY4" fmla="*/ 0 h 750606"/>
                <a:gd name="connsiteX0" fmla="*/ 388216 w 1266066"/>
                <a:gd name="connsiteY0" fmla="*/ 0 h 745170"/>
                <a:gd name="connsiteX1" fmla="*/ 28080 w 1266066"/>
                <a:gd name="connsiteY1" fmla="*/ 631225 h 745170"/>
                <a:gd name="connsiteX2" fmla="*/ 1003897 w 1266066"/>
                <a:gd name="connsiteY2" fmla="*/ 745170 h 745170"/>
                <a:gd name="connsiteX3" fmla="*/ 1256229 w 1266066"/>
                <a:gd name="connsiteY3" fmla="*/ 465052 h 745170"/>
                <a:gd name="connsiteX4" fmla="*/ 388216 w 1266066"/>
                <a:gd name="connsiteY4" fmla="*/ 0 h 745170"/>
                <a:gd name="connsiteX0" fmla="*/ 388216 w 1256229"/>
                <a:gd name="connsiteY0" fmla="*/ 0 h 745170"/>
                <a:gd name="connsiteX1" fmla="*/ 28080 w 1256229"/>
                <a:gd name="connsiteY1" fmla="*/ 631225 h 745170"/>
                <a:gd name="connsiteX2" fmla="*/ 1003897 w 1256229"/>
                <a:gd name="connsiteY2" fmla="*/ 745170 h 745170"/>
                <a:gd name="connsiteX3" fmla="*/ 1256229 w 1256229"/>
                <a:gd name="connsiteY3" fmla="*/ 465052 h 745170"/>
                <a:gd name="connsiteX4" fmla="*/ 388216 w 1256229"/>
                <a:gd name="connsiteY4" fmla="*/ 0 h 745170"/>
                <a:gd name="connsiteX0" fmla="*/ 360137 w 1228150"/>
                <a:gd name="connsiteY0" fmla="*/ 0 h 745170"/>
                <a:gd name="connsiteX1" fmla="*/ 1 w 1228150"/>
                <a:gd name="connsiteY1" fmla="*/ 631225 h 745170"/>
                <a:gd name="connsiteX2" fmla="*/ 975818 w 1228150"/>
                <a:gd name="connsiteY2" fmla="*/ 745170 h 745170"/>
                <a:gd name="connsiteX3" fmla="*/ 1228150 w 1228150"/>
                <a:gd name="connsiteY3" fmla="*/ 465052 h 745170"/>
                <a:gd name="connsiteX4" fmla="*/ 360137 w 1228150"/>
                <a:gd name="connsiteY4" fmla="*/ 0 h 745170"/>
                <a:gd name="connsiteX0" fmla="*/ 462637 w 1330650"/>
                <a:gd name="connsiteY0" fmla="*/ 0 h 745170"/>
                <a:gd name="connsiteX1" fmla="*/ 0 w 1330650"/>
                <a:gd name="connsiteY1" fmla="*/ 631224 h 745170"/>
                <a:gd name="connsiteX2" fmla="*/ 1078318 w 1330650"/>
                <a:gd name="connsiteY2" fmla="*/ 745170 h 745170"/>
                <a:gd name="connsiteX3" fmla="*/ 1330650 w 1330650"/>
                <a:gd name="connsiteY3" fmla="*/ 465052 h 745170"/>
                <a:gd name="connsiteX4" fmla="*/ 462637 w 1330650"/>
                <a:gd name="connsiteY4" fmla="*/ 0 h 745170"/>
                <a:gd name="connsiteX0" fmla="*/ 462637 w 1330650"/>
                <a:gd name="connsiteY0" fmla="*/ 0 h 745170"/>
                <a:gd name="connsiteX1" fmla="*/ 0 w 1330650"/>
                <a:gd name="connsiteY1" fmla="*/ 631224 h 745170"/>
                <a:gd name="connsiteX2" fmla="*/ 1078318 w 1330650"/>
                <a:gd name="connsiteY2" fmla="*/ 745170 h 745170"/>
                <a:gd name="connsiteX3" fmla="*/ 1330650 w 1330650"/>
                <a:gd name="connsiteY3" fmla="*/ 465052 h 745170"/>
                <a:gd name="connsiteX4" fmla="*/ 462637 w 1330650"/>
                <a:gd name="connsiteY4" fmla="*/ 0 h 745170"/>
                <a:gd name="connsiteX0" fmla="*/ 462637 w 1330650"/>
                <a:gd name="connsiteY0" fmla="*/ 0 h 745170"/>
                <a:gd name="connsiteX1" fmla="*/ 0 w 1330650"/>
                <a:gd name="connsiteY1" fmla="*/ 631224 h 745170"/>
                <a:gd name="connsiteX2" fmla="*/ 1078318 w 1330650"/>
                <a:gd name="connsiteY2" fmla="*/ 745170 h 745170"/>
                <a:gd name="connsiteX3" fmla="*/ 1330650 w 1330650"/>
                <a:gd name="connsiteY3" fmla="*/ 465052 h 745170"/>
                <a:gd name="connsiteX4" fmla="*/ 462637 w 1330650"/>
                <a:gd name="connsiteY4" fmla="*/ 0 h 745170"/>
                <a:gd name="connsiteX0" fmla="*/ 462637 w 1330650"/>
                <a:gd name="connsiteY0" fmla="*/ 0 h 745170"/>
                <a:gd name="connsiteX1" fmla="*/ 0 w 1330650"/>
                <a:gd name="connsiteY1" fmla="*/ 631224 h 745170"/>
                <a:gd name="connsiteX2" fmla="*/ 1078318 w 1330650"/>
                <a:gd name="connsiteY2" fmla="*/ 745170 h 745170"/>
                <a:gd name="connsiteX3" fmla="*/ 1330650 w 1330650"/>
                <a:gd name="connsiteY3" fmla="*/ 465052 h 745170"/>
                <a:gd name="connsiteX4" fmla="*/ 462637 w 1330650"/>
                <a:gd name="connsiteY4" fmla="*/ 0 h 745170"/>
                <a:gd name="connsiteX0" fmla="*/ 462637 w 1282097"/>
                <a:gd name="connsiteY0" fmla="*/ 0 h 745170"/>
                <a:gd name="connsiteX1" fmla="*/ 0 w 1282097"/>
                <a:gd name="connsiteY1" fmla="*/ 631224 h 745170"/>
                <a:gd name="connsiteX2" fmla="*/ 1078318 w 1282097"/>
                <a:gd name="connsiteY2" fmla="*/ 745170 h 745170"/>
                <a:gd name="connsiteX3" fmla="*/ 1282097 w 1282097"/>
                <a:gd name="connsiteY3" fmla="*/ 444649 h 745170"/>
                <a:gd name="connsiteX4" fmla="*/ 462637 w 1282097"/>
                <a:gd name="connsiteY4" fmla="*/ 0 h 745170"/>
                <a:gd name="connsiteX0" fmla="*/ 462637 w 1416969"/>
                <a:gd name="connsiteY0" fmla="*/ 0 h 745170"/>
                <a:gd name="connsiteX1" fmla="*/ 0 w 1416969"/>
                <a:gd name="connsiteY1" fmla="*/ 631224 h 745170"/>
                <a:gd name="connsiteX2" fmla="*/ 1078318 w 1416969"/>
                <a:gd name="connsiteY2" fmla="*/ 745170 h 745170"/>
                <a:gd name="connsiteX3" fmla="*/ 1416969 w 1416969"/>
                <a:gd name="connsiteY3" fmla="*/ 475251 h 745170"/>
                <a:gd name="connsiteX4" fmla="*/ 462637 w 1416969"/>
                <a:gd name="connsiteY4" fmla="*/ 0 h 745170"/>
                <a:gd name="connsiteX0" fmla="*/ 462637 w 1416969"/>
                <a:gd name="connsiteY0" fmla="*/ 0 h 745170"/>
                <a:gd name="connsiteX1" fmla="*/ 0 w 1416969"/>
                <a:gd name="connsiteY1" fmla="*/ 631224 h 745170"/>
                <a:gd name="connsiteX2" fmla="*/ 1078318 w 1416969"/>
                <a:gd name="connsiteY2" fmla="*/ 745170 h 745170"/>
                <a:gd name="connsiteX3" fmla="*/ 1416969 w 1416969"/>
                <a:gd name="connsiteY3" fmla="*/ 475251 h 745170"/>
                <a:gd name="connsiteX4" fmla="*/ 462637 w 1416969"/>
                <a:gd name="connsiteY4" fmla="*/ 0 h 745170"/>
                <a:gd name="connsiteX0" fmla="*/ 462637 w 1416969"/>
                <a:gd name="connsiteY0" fmla="*/ 0 h 714569"/>
                <a:gd name="connsiteX1" fmla="*/ 0 w 1416969"/>
                <a:gd name="connsiteY1" fmla="*/ 631224 h 714569"/>
                <a:gd name="connsiteX2" fmla="*/ 1186216 w 1416969"/>
                <a:gd name="connsiteY2" fmla="*/ 714569 h 714569"/>
                <a:gd name="connsiteX3" fmla="*/ 1416969 w 1416969"/>
                <a:gd name="connsiteY3" fmla="*/ 475251 h 714569"/>
                <a:gd name="connsiteX4" fmla="*/ 462637 w 1416969"/>
                <a:gd name="connsiteY4" fmla="*/ 0 h 714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969" h="714569">
                  <a:moveTo>
                    <a:pt x="462637" y="0"/>
                  </a:moveTo>
                  <a:cubicBezTo>
                    <a:pt x="381498" y="93838"/>
                    <a:pt x="141534" y="377444"/>
                    <a:pt x="0" y="631224"/>
                  </a:cubicBezTo>
                  <a:cubicBezTo>
                    <a:pt x="220764" y="652575"/>
                    <a:pt x="1005481" y="713274"/>
                    <a:pt x="1186216" y="714569"/>
                  </a:cubicBezTo>
                  <a:cubicBezTo>
                    <a:pt x="1356592" y="584737"/>
                    <a:pt x="1394051" y="544184"/>
                    <a:pt x="1416969" y="475251"/>
                  </a:cubicBezTo>
                  <a:lnTo>
                    <a:pt x="462637" y="0"/>
                  </a:lnTo>
                  <a:close/>
                </a:path>
              </a:pathLst>
            </a:custGeom>
            <a:solidFill>
              <a:srgbClr val="EBD6AF"/>
            </a:solidFill>
            <a:ln w="9525" algn="ctr">
              <a:noFill/>
              <a:miter lim="800000"/>
              <a:headEnd/>
              <a:tailEnd/>
            </a:ln>
            <a:extLst/>
          </p:spPr>
          <p:txBody>
            <a:bodyPr wrap="none" lIns="36000" tIns="10800" rIns="36000" bIns="10800" rtlCol="0" anchor="ctr"/>
            <a:lstStyle/>
            <a:p>
              <a:pPr marL="185738" indent="-185738" algn="ctr">
                <a:buClr>
                  <a:srgbClr val="969696"/>
                </a:buClr>
                <a:buSzPct val="80000"/>
                <a:defRPr/>
              </a:pPr>
              <a:endParaRPr kumimoji="0" lang="en-US" sz="1400" dirty="0">
                <a:solidFill>
                  <a:prstClr val="black"/>
                </a:solidFill>
                <a:latin typeface="Meiryo UI"/>
                <a:ea typeface="Meiryo UI"/>
              </a:endParaRPr>
            </a:p>
          </p:txBody>
        </p:sp>
        <p:pic>
          <p:nvPicPr>
            <p:cNvPr id="358" name="Picture 35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790898" y="3661128"/>
              <a:ext cx="43039" cy="117107"/>
            </a:xfrm>
            <a:prstGeom prst="rect">
              <a:avLst/>
            </a:prstGeom>
          </p:spPr>
        </p:pic>
        <p:pic>
          <p:nvPicPr>
            <p:cNvPr id="359" name="Picture 35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2891551" y="3982950"/>
              <a:ext cx="74200" cy="92972"/>
            </a:xfrm>
            <a:prstGeom prst="rect">
              <a:avLst/>
            </a:prstGeom>
          </p:spPr>
        </p:pic>
        <p:pic>
          <p:nvPicPr>
            <p:cNvPr id="360" name="Picture 35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2876671" y="4116818"/>
              <a:ext cx="74200" cy="92972"/>
            </a:xfrm>
            <a:prstGeom prst="rect">
              <a:avLst/>
            </a:prstGeom>
          </p:spPr>
        </p:pic>
        <p:pic>
          <p:nvPicPr>
            <p:cNvPr id="361" name="Picture 36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2939999" y="4116818"/>
              <a:ext cx="74200" cy="92972"/>
            </a:xfrm>
            <a:prstGeom prst="rect">
              <a:avLst/>
            </a:prstGeom>
          </p:spPr>
        </p:pic>
        <p:sp>
          <p:nvSpPr>
            <p:cNvPr id="362" name="Freeform 361"/>
            <p:cNvSpPr/>
            <p:nvPr/>
          </p:nvSpPr>
          <p:spPr>
            <a:xfrm>
              <a:off x="4193477" y="3951946"/>
              <a:ext cx="2058285" cy="1189691"/>
            </a:xfrm>
            <a:custGeom>
              <a:avLst/>
              <a:gdLst>
                <a:gd name="connsiteX0" fmla="*/ 292100 w 965200"/>
                <a:gd name="connsiteY0" fmla="*/ 0 h 536575"/>
                <a:gd name="connsiteX1" fmla="*/ 965200 w 965200"/>
                <a:gd name="connsiteY1" fmla="*/ 231775 h 536575"/>
                <a:gd name="connsiteX2" fmla="*/ 495300 w 965200"/>
                <a:gd name="connsiteY2" fmla="*/ 536575 h 536575"/>
                <a:gd name="connsiteX3" fmla="*/ 0 w 965200"/>
                <a:gd name="connsiteY3" fmla="*/ 352425 h 536575"/>
                <a:gd name="connsiteX4" fmla="*/ 292100 w 965200"/>
                <a:gd name="connsiteY4" fmla="*/ 0 h 536575"/>
                <a:gd name="connsiteX0" fmla="*/ 263525 w 936625"/>
                <a:gd name="connsiteY0" fmla="*/ 0 h 536575"/>
                <a:gd name="connsiteX1" fmla="*/ 936625 w 936625"/>
                <a:gd name="connsiteY1" fmla="*/ 231775 h 536575"/>
                <a:gd name="connsiteX2" fmla="*/ 466725 w 936625"/>
                <a:gd name="connsiteY2" fmla="*/ 536575 h 536575"/>
                <a:gd name="connsiteX3" fmla="*/ 0 w 936625"/>
                <a:gd name="connsiteY3" fmla="*/ 358775 h 536575"/>
                <a:gd name="connsiteX4" fmla="*/ 263525 w 936625"/>
                <a:gd name="connsiteY4" fmla="*/ 0 h 536575"/>
                <a:gd name="connsiteX0" fmla="*/ 263525 w 1224756"/>
                <a:gd name="connsiteY0" fmla="*/ 0 h 536575"/>
                <a:gd name="connsiteX1" fmla="*/ 1224756 w 1224756"/>
                <a:gd name="connsiteY1" fmla="*/ 391318 h 536575"/>
                <a:gd name="connsiteX2" fmla="*/ 466725 w 1224756"/>
                <a:gd name="connsiteY2" fmla="*/ 536575 h 536575"/>
                <a:gd name="connsiteX3" fmla="*/ 0 w 1224756"/>
                <a:gd name="connsiteY3" fmla="*/ 358775 h 536575"/>
                <a:gd name="connsiteX4" fmla="*/ 263525 w 1224756"/>
                <a:gd name="connsiteY4" fmla="*/ 0 h 536575"/>
                <a:gd name="connsiteX0" fmla="*/ 263525 w 1224756"/>
                <a:gd name="connsiteY0" fmla="*/ 0 h 536575"/>
                <a:gd name="connsiteX1" fmla="*/ 1224756 w 1224756"/>
                <a:gd name="connsiteY1" fmla="*/ 391318 h 536575"/>
                <a:gd name="connsiteX2" fmla="*/ 466725 w 1224756"/>
                <a:gd name="connsiteY2" fmla="*/ 536575 h 536575"/>
                <a:gd name="connsiteX3" fmla="*/ 0 w 1224756"/>
                <a:gd name="connsiteY3" fmla="*/ 358775 h 536575"/>
                <a:gd name="connsiteX4" fmla="*/ 263525 w 1224756"/>
                <a:gd name="connsiteY4" fmla="*/ 0 h 536575"/>
                <a:gd name="connsiteX0" fmla="*/ 263525 w 1224756"/>
                <a:gd name="connsiteY0" fmla="*/ 0 h 536575"/>
                <a:gd name="connsiteX1" fmla="*/ 1224756 w 1224756"/>
                <a:gd name="connsiteY1" fmla="*/ 391318 h 536575"/>
                <a:gd name="connsiteX2" fmla="*/ 466725 w 1224756"/>
                <a:gd name="connsiteY2" fmla="*/ 536575 h 536575"/>
                <a:gd name="connsiteX3" fmla="*/ 0 w 1224756"/>
                <a:gd name="connsiteY3" fmla="*/ 358775 h 536575"/>
                <a:gd name="connsiteX4" fmla="*/ 263525 w 1224756"/>
                <a:gd name="connsiteY4" fmla="*/ 0 h 536575"/>
                <a:gd name="connsiteX0" fmla="*/ 263525 w 1224756"/>
                <a:gd name="connsiteY0" fmla="*/ 0 h 698500"/>
                <a:gd name="connsiteX1" fmla="*/ 1224756 w 1224756"/>
                <a:gd name="connsiteY1" fmla="*/ 391318 h 698500"/>
                <a:gd name="connsiteX2" fmla="*/ 842963 w 1224756"/>
                <a:gd name="connsiteY2" fmla="*/ 698500 h 698500"/>
                <a:gd name="connsiteX3" fmla="*/ 0 w 1224756"/>
                <a:gd name="connsiteY3" fmla="*/ 358775 h 698500"/>
                <a:gd name="connsiteX4" fmla="*/ 263525 w 1224756"/>
                <a:gd name="connsiteY4" fmla="*/ 0 h 698500"/>
                <a:gd name="connsiteX0" fmla="*/ 263525 w 1224756"/>
                <a:gd name="connsiteY0" fmla="*/ 0 h 705644"/>
                <a:gd name="connsiteX1" fmla="*/ 1224756 w 1224756"/>
                <a:gd name="connsiteY1" fmla="*/ 391318 h 705644"/>
                <a:gd name="connsiteX2" fmla="*/ 862013 w 1224756"/>
                <a:gd name="connsiteY2" fmla="*/ 705644 h 705644"/>
                <a:gd name="connsiteX3" fmla="*/ 0 w 1224756"/>
                <a:gd name="connsiteY3" fmla="*/ 358775 h 705644"/>
                <a:gd name="connsiteX4" fmla="*/ 263525 w 1224756"/>
                <a:gd name="connsiteY4" fmla="*/ 0 h 705644"/>
                <a:gd name="connsiteX0" fmla="*/ 353401 w 1224756"/>
                <a:gd name="connsiteY0" fmla="*/ 0 h 682198"/>
                <a:gd name="connsiteX1" fmla="*/ 1224756 w 1224756"/>
                <a:gd name="connsiteY1" fmla="*/ 367872 h 682198"/>
                <a:gd name="connsiteX2" fmla="*/ 862013 w 1224756"/>
                <a:gd name="connsiteY2" fmla="*/ 682198 h 682198"/>
                <a:gd name="connsiteX3" fmla="*/ 0 w 1224756"/>
                <a:gd name="connsiteY3" fmla="*/ 335329 h 682198"/>
                <a:gd name="connsiteX4" fmla="*/ 353401 w 1224756"/>
                <a:gd name="connsiteY4" fmla="*/ 0 h 682198"/>
                <a:gd name="connsiteX0" fmla="*/ 306509 w 1177864"/>
                <a:gd name="connsiteY0" fmla="*/ 0 h 682198"/>
                <a:gd name="connsiteX1" fmla="*/ 1177864 w 1177864"/>
                <a:gd name="connsiteY1" fmla="*/ 367872 h 682198"/>
                <a:gd name="connsiteX2" fmla="*/ 815121 w 1177864"/>
                <a:gd name="connsiteY2" fmla="*/ 682198 h 682198"/>
                <a:gd name="connsiteX3" fmla="*/ 0 w 1177864"/>
                <a:gd name="connsiteY3" fmla="*/ 370498 h 682198"/>
                <a:gd name="connsiteX4" fmla="*/ 306509 w 1177864"/>
                <a:gd name="connsiteY4" fmla="*/ 0 h 682198"/>
                <a:gd name="connsiteX0" fmla="*/ 357309 w 1228664"/>
                <a:gd name="connsiteY0" fmla="*/ 0 h 682198"/>
                <a:gd name="connsiteX1" fmla="*/ 1228664 w 1228664"/>
                <a:gd name="connsiteY1" fmla="*/ 367872 h 682198"/>
                <a:gd name="connsiteX2" fmla="*/ 865921 w 1228664"/>
                <a:gd name="connsiteY2" fmla="*/ 682198 h 682198"/>
                <a:gd name="connsiteX3" fmla="*/ 0 w 1228664"/>
                <a:gd name="connsiteY3" fmla="*/ 347052 h 682198"/>
                <a:gd name="connsiteX4" fmla="*/ 357309 w 1228664"/>
                <a:gd name="connsiteY4" fmla="*/ 0 h 682198"/>
                <a:gd name="connsiteX0" fmla="*/ 1553063 w 2424418"/>
                <a:gd name="connsiteY0" fmla="*/ 0 h 1351329"/>
                <a:gd name="connsiteX1" fmla="*/ 2424418 w 2424418"/>
                <a:gd name="connsiteY1" fmla="*/ 367872 h 1351329"/>
                <a:gd name="connsiteX2" fmla="*/ 2061675 w 2424418"/>
                <a:gd name="connsiteY2" fmla="*/ 682198 h 1351329"/>
                <a:gd name="connsiteX3" fmla="*/ 0 w 2424418"/>
                <a:gd name="connsiteY3" fmla="*/ 1351329 h 1351329"/>
                <a:gd name="connsiteX4" fmla="*/ 1553063 w 2424418"/>
                <a:gd name="connsiteY4" fmla="*/ 0 h 1351329"/>
                <a:gd name="connsiteX0" fmla="*/ 1553063 w 2424418"/>
                <a:gd name="connsiteY0" fmla="*/ 0 h 1351329"/>
                <a:gd name="connsiteX1" fmla="*/ 2424418 w 2424418"/>
                <a:gd name="connsiteY1" fmla="*/ 367872 h 1351329"/>
                <a:gd name="connsiteX2" fmla="*/ 2061675 w 2424418"/>
                <a:gd name="connsiteY2" fmla="*/ 682198 h 1351329"/>
                <a:gd name="connsiteX3" fmla="*/ 0 w 2424418"/>
                <a:gd name="connsiteY3" fmla="*/ 1351329 h 1351329"/>
                <a:gd name="connsiteX4" fmla="*/ 1553063 w 2424418"/>
                <a:gd name="connsiteY4" fmla="*/ 0 h 1351329"/>
                <a:gd name="connsiteX0" fmla="*/ 1705463 w 2424418"/>
                <a:gd name="connsiteY0" fmla="*/ 0 h 1320067"/>
                <a:gd name="connsiteX1" fmla="*/ 2424418 w 2424418"/>
                <a:gd name="connsiteY1" fmla="*/ 336610 h 1320067"/>
                <a:gd name="connsiteX2" fmla="*/ 2061675 w 2424418"/>
                <a:gd name="connsiteY2" fmla="*/ 650936 h 1320067"/>
                <a:gd name="connsiteX3" fmla="*/ 0 w 2424418"/>
                <a:gd name="connsiteY3" fmla="*/ 1320067 h 1320067"/>
                <a:gd name="connsiteX4" fmla="*/ 1705463 w 2424418"/>
                <a:gd name="connsiteY4" fmla="*/ 0 h 1320067"/>
                <a:gd name="connsiteX0" fmla="*/ 1705463 w 2424418"/>
                <a:gd name="connsiteY0" fmla="*/ 0 h 1320067"/>
                <a:gd name="connsiteX1" fmla="*/ 2424418 w 2424418"/>
                <a:gd name="connsiteY1" fmla="*/ 336610 h 1320067"/>
                <a:gd name="connsiteX2" fmla="*/ 2061675 w 2424418"/>
                <a:gd name="connsiteY2" fmla="*/ 650936 h 1320067"/>
                <a:gd name="connsiteX3" fmla="*/ 759377 w 2424418"/>
                <a:gd name="connsiteY3" fmla="*/ 1064379 h 1320067"/>
                <a:gd name="connsiteX4" fmla="*/ 0 w 2424418"/>
                <a:gd name="connsiteY4" fmla="*/ 1320067 h 1320067"/>
                <a:gd name="connsiteX5" fmla="*/ 1705463 w 2424418"/>
                <a:gd name="connsiteY5" fmla="*/ 0 h 1320067"/>
                <a:gd name="connsiteX0" fmla="*/ 1705463 w 2424418"/>
                <a:gd name="connsiteY0" fmla="*/ 0 h 1642718"/>
                <a:gd name="connsiteX1" fmla="*/ 2424418 w 2424418"/>
                <a:gd name="connsiteY1" fmla="*/ 336610 h 1642718"/>
                <a:gd name="connsiteX2" fmla="*/ 2061675 w 2424418"/>
                <a:gd name="connsiteY2" fmla="*/ 650936 h 1642718"/>
                <a:gd name="connsiteX3" fmla="*/ 165407 w 2424418"/>
                <a:gd name="connsiteY3" fmla="*/ 1642718 h 1642718"/>
                <a:gd name="connsiteX4" fmla="*/ 0 w 2424418"/>
                <a:gd name="connsiteY4" fmla="*/ 1320067 h 1642718"/>
                <a:gd name="connsiteX5" fmla="*/ 1705463 w 2424418"/>
                <a:gd name="connsiteY5" fmla="*/ 0 h 1642718"/>
                <a:gd name="connsiteX0" fmla="*/ 1705463 w 2424418"/>
                <a:gd name="connsiteY0" fmla="*/ 0 h 1642718"/>
                <a:gd name="connsiteX1" fmla="*/ 2424418 w 2424418"/>
                <a:gd name="connsiteY1" fmla="*/ 336610 h 1642718"/>
                <a:gd name="connsiteX2" fmla="*/ 2014782 w 2424418"/>
                <a:gd name="connsiteY2" fmla="*/ 623583 h 1642718"/>
                <a:gd name="connsiteX3" fmla="*/ 165407 w 2424418"/>
                <a:gd name="connsiteY3" fmla="*/ 1642718 h 1642718"/>
                <a:gd name="connsiteX4" fmla="*/ 0 w 2424418"/>
                <a:gd name="connsiteY4" fmla="*/ 1320067 h 1642718"/>
                <a:gd name="connsiteX5" fmla="*/ 1705463 w 2424418"/>
                <a:gd name="connsiteY5" fmla="*/ 0 h 1642718"/>
                <a:gd name="connsiteX0" fmla="*/ 1896940 w 2615895"/>
                <a:gd name="connsiteY0" fmla="*/ 0 h 1642718"/>
                <a:gd name="connsiteX1" fmla="*/ 2615895 w 2615895"/>
                <a:gd name="connsiteY1" fmla="*/ 336610 h 1642718"/>
                <a:gd name="connsiteX2" fmla="*/ 2206259 w 2615895"/>
                <a:gd name="connsiteY2" fmla="*/ 623583 h 1642718"/>
                <a:gd name="connsiteX3" fmla="*/ 356884 w 2615895"/>
                <a:gd name="connsiteY3" fmla="*/ 1642718 h 1642718"/>
                <a:gd name="connsiteX4" fmla="*/ 0 w 2615895"/>
                <a:gd name="connsiteY4" fmla="*/ 1366959 h 1642718"/>
                <a:gd name="connsiteX5" fmla="*/ 1896940 w 2615895"/>
                <a:gd name="connsiteY5" fmla="*/ 0 h 1642718"/>
                <a:gd name="connsiteX0" fmla="*/ 1857864 w 2615895"/>
                <a:gd name="connsiteY0" fmla="*/ 0 h 1638810"/>
                <a:gd name="connsiteX1" fmla="*/ 2615895 w 2615895"/>
                <a:gd name="connsiteY1" fmla="*/ 332702 h 1638810"/>
                <a:gd name="connsiteX2" fmla="*/ 2206259 w 2615895"/>
                <a:gd name="connsiteY2" fmla="*/ 619675 h 1638810"/>
                <a:gd name="connsiteX3" fmla="*/ 356884 w 2615895"/>
                <a:gd name="connsiteY3" fmla="*/ 1638810 h 1638810"/>
                <a:gd name="connsiteX4" fmla="*/ 0 w 2615895"/>
                <a:gd name="connsiteY4" fmla="*/ 1363051 h 1638810"/>
                <a:gd name="connsiteX5" fmla="*/ 1857864 w 2615895"/>
                <a:gd name="connsiteY5" fmla="*/ 0 h 1638810"/>
                <a:gd name="connsiteX0" fmla="*/ 2838694 w 3596725"/>
                <a:gd name="connsiteY0" fmla="*/ 0 h 1804620"/>
                <a:gd name="connsiteX1" fmla="*/ 3596725 w 3596725"/>
                <a:gd name="connsiteY1" fmla="*/ 332702 h 1804620"/>
                <a:gd name="connsiteX2" fmla="*/ 3187089 w 3596725"/>
                <a:gd name="connsiteY2" fmla="*/ 619675 h 1804620"/>
                <a:gd name="connsiteX3" fmla="*/ 1337714 w 3596725"/>
                <a:gd name="connsiteY3" fmla="*/ 1638810 h 1804620"/>
                <a:gd name="connsiteX4" fmla="*/ 0 w 3596725"/>
                <a:gd name="connsiteY4" fmla="*/ 1804620 h 1804620"/>
                <a:gd name="connsiteX5" fmla="*/ 2838694 w 3596725"/>
                <a:gd name="connsiteY5" fmla="*/ 0 h 1804620"/>
                <a:gd name="connsiteX0" fmla="*/ 2838694 w 3596725"/>
                <a:gd name="connsiteY0" fmla="*/ 0 h 2060841"/>
                <a:gd name="connsiteX1" fmla="*/ 3596725 w 3596725"/>
                <a:gd name="connsiteY1" fmla="*/ 332702 h 2060841"/>
                <a:gd name="connsiteX2" fmla="*/ 3187089 w 3596725"/>
                <a:gd name="connsiteY2" fmla="*/ 619675 h 2060841"/>
                <a:gd name="connsiteX3" fmla="*/ 661683 w 3596725"/>
                <a:gd name="connsiteY3" fmla="*/ 2060841 h 2060841"/>
                <a:gd name="connsiteX4" fmla="*/ 0 w 3596725"/>
                <a:gd name="connsiteY4" fmla="*/ 1804620 h 2060841"/>
                <a:gd name="connsiteX5" fmla="*/ 2838694 w 3596725"/>
                <a:gd name="connsiteY5" fmla="*/ 0 h 2060841"/>
                <a:gd name="connsiteX0" fmla="*/ 2807433 w 3565464"/>
                <a:gd name="connsiteY0" fmla="*/ 0 h 2060841"/>
                <a:gd name="connsiteX1" fmla="*/ 3565464 w 3565464"/>
                <a:gd name="connsiteY1" fmla="*/ 332702 h 2060841"/>
                <a:gd name="connsiteX2" fmla="*/ 3155828 w 3565464"/>
                <a:gd name="connsiteY2" fmla="*/ 619675 h 2060841"/>
                <a:gd name="connsiteX3" fmla="*/ 630422 w 3565464"/>
                <a:gd name="connsiteY3" fmla="*/ 2060841 h 2060841"/>
                <a:gd name="connsiteX4" fmla="*/ 0 w 3565464"/>
                <a:gd name="connsiteY4" fmla="*/ 1781174 h 2060841"/>
                <a:gd name="connsiteX5" fmla="*/ 2807433 w 3565464"/>
                <a:gd name="connsiteY5" fmla="*/ 0 h 206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65464" h="2060841">
                  <a:moveTo>
                    <a:pt x="2807433" y="0"/>
                  </a:moveTo>
                  <a:cubicBezTo>
                    <a:pt x="3089743" y="99483"/>
                    <a:pt x="2956922" y="4619"/>
                    <a:pt x="3565464" y="332702"/>
                  </a:cubicBezTo>
                  <a:lnTo>
                    <a:pt x="3155828" y="619675"/>
                  </a:lnTo>
                  <a:lnTo>
                    <a:pt x="630422" y="2060841"/>
                  </a:lnTo>
                  <a:lnTo>
                    <a:pt x="0" y="1781174"/>
                  </a:lnTo>
                  <a:cubicBezTo>
                    <a:pt x="318396" y="1591244"/>
                    <a:pt x="2719591" y="119592"/>
                    <a:pt x="2807433" y="0"/>
                  </a:cubicBezTo>
                  <a:close/>
                </a:path>
              </a:pathLst>
            </a:custGeom>
            <a:solidFill>
              <a:srgbClr val="ADC886"/>
            </a:solidFill>
            <a:ln w="12700" cap="rnd" cmpd="sng" algn="ctr">
              <a:noFill/>
              <a:prstDash val="solid"/>
              <a:round/>
              <a:headEnd type="none" w="med" len="med"/>
              <a:tailEnd type="none" w="med" len="med"/>
            </a:ln>
            <a:effectLst/>
            <a:extLst>
              <a:ext uri="{91240B29-F687-4F45-9708-019B960494DF}">
                <a14:hiddenLine xmlns:a14="http://schemas.microsoft.com/office/drawing/2010/main" w="12700" cap="rnd"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1200" dirty="0">
                <a:solidFill>
                  <a:srgbClr val="FFFFFF"/>
                </a:solidFill>
                <a:latin typeface="Trebuchet MS"/>
                <a:ea typeface="Meiryo UI"/>
              </a:endParaRPr>
            </a:p>
          </p:txBody>
        </p:sp>
        <p:pic>
          <p:nvPicPr>
            <p:cNvPr id="363" name="Picture 36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364024" y="3860751"/>
              <a:ext cx="77182" cy="96709"/>
            </a:xfrm>
            <a:prstGeom prst="rect">
              <a:avLst/>
            </a:prstGeom>
          </p:spPr>
        </p:pic>
        <p:pic>
          <p:nvPicPr>
            <p:cNvPr id="364" name="Picture 36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30064" y="3761449"/>
              <a:ext cx="77182" cy="96709"/>
            </a:xfrm>
            <a:prstGeom prst="rect">
              <a:avLst/>
            </a:prstGeom>
          </p:spPr>
        </p:pic>
        <p:pic>
          <p:nvPicPr>
            <p:cNvPr id="365" name="Picture 36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83456" y="3850122"/>
              <a:ext cx="77182" cy="96709"/>
            </a:xfrm>
            <a:prstGeom prst="rect">
              <a:avLst/>
            </a:prstGeom>
          </p:spPr>
        </p:pic>
        <p:pic>
          <p:nvPicPr>
            <p:cNvPr id="366" name="Picture 36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36849" y="3938795"/>
              <a:ext cx="77182" cy="96709"/>
            </a:xfrm>
            <a:prstGeom prst="rect">
              <a:avLst/>
            </a:prstGeom>
          </p:spPr>
        </p:pic>
        <p:pic>
          <p:nvPicPr>
            <p:cNvPr id="367" name="Picture 36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87650" y="4027467"/>
              <a:ext cx="79774" cy="99957"/>
            </a:xfrm>
            <a:prstGeom prst="rect">
              <a:avLst/>
            </a:prstGeom>
          </p:spPr>
        </p:pic>
        <p:pic>
          <p:nvPicPr>
            <p:cNvPr id="407" name="Picture 40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41042" y="4119387"/>
              <a:ext cx="77182" cy="96709"/>
            </a:xfrm>
            <a:prstGeom prst="rect">
              <a:avLst/>
            </a:prstGeom>
          </p:spPr>
        </p:pic>
        <p:pic>
          <p:nvPicPr>
            <p:cNvPr id="414" name="Picture 41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830436" y="3681526"/>
              <a:ext cx="77182" cy="96709"/>
            </a:xfrm>
            <a:prstGeom prst="rect">
              <a:avLst/>
            </a:prstGeom>
          </p:spPr>
        </p:pic>
        <p:pic>
          <p:nvPicPr>
            <p:cNvPr id="442" name="Picture 44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182741" y="3714858"/>
              <a:ext cx="77182" cy="96709"/>
            </a:xfrm>
            <a:prstGeom prst="rect">
              <a:avLst/>
            </a:prstGeom>
          </p:spPr>
        </p:pic>
        <p:pic>
          <p:nvPicPr>
            <p:cNvPr id="519" name="Picture 51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271786" y="3734731"/>
              <a:ext cx="77182" cy="96709"/>
            </a:xfrm>
            <a:prstGeom prst="rect">
              <a:avLst/>
            </a:prstGeom>
          </p:spPr>
        </p:pic>
        <p:pic>
          <p:nvPicPr>
            <p:cNvPr id="520" name="Picture 51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348814" y="3761449"/>
              <a:ext cx="77182" cy="96709"/>
            </a:xfrm>
            <a:prstGeom prst="rect">
              <a:avLst/>
            </a:prstGeom>
          </p:spPr>
        </p:pic>
        <p:pic>
          <p:nvPicPr>
            <p:cNvPr id="521" name="Picture 520"/>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880259" y="3688777"/>
              <a:ext cx="442008" cy="335336"/>
            </a:xfrm>
            <a:prstGeom prst="rect">
              <a:avLst/>
            </a:prstGeom>
          </p:spPr>
        </p:pic>
        <p:pic>
          <p:nvPicPr>
            <p:cNvPr id="522" name="Picture 52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231180" y="4018144"/>
              <a:ext cx="77182" cy="96709"/>
            </a:xfrm>
            <a:prstGeom prst="rect">
              <a:avLst/>
            </a:prstGeom>
          </p:spPr>
        </p:pic>
        <p:pic>
          <p:nvPicPr>
            <p:cNvPr id="526" name="Picture 52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167109" y="4086409"/>
              <a:ext cx="77182" cy="96709"/>
            </a:xfrm>
            <a:prstGeom prst="rect">
              <a:avLst/>
            </a:prstGeom>
          </p:spPr>
        </p:pic>
        <p:pic>
          <p:nvPicPr>
            <p:cNvPr id="558" name="Picture 557"/>
            <p:cNvPicPr>
              <a:picLocks noChangeAspect="1"/>
            </p:cNvPicPr>
            <p:nvPr/>
          </p:nvPicPr>
          <p:blipFill>
            <a:blip r:embed="rId8"/>
            <a:stretch>
              <a:fillRect/>
            </a:stretch>
          </p:blipFill>
          <p:spPr>
            <a:xfrm>
              <a:off x="5666818" y="4039812"/>
              <a:ext cx="34574" cy="76831"/>
            </a:xfrm>
            <a:prstGeom prst="rect">
              <a:avLst/>
            </a:prstGeom>
          </p:spPr>
        </p:pic>
        <p:pic>
          <p:nvPicPr>
            <p:cNvPr id="559" name="Picture 558"/>
            <p:cNvPicPr>
              <a:picLocks noChangeAspect="1"/>
            </p:cNvPicPr>
            <p:nvPr/>
          </p:nvPicPr>
          <p:blipFill>
            <a:blip r:embed="rId9"/>
            <a:stretch>
              <a:fillRect/>
            </a:stretch>
          </p:blipFill>
          <p:spPr>
            <a:xfrm>
              <a:off x="2687499" y="3796539"/>
              <a:ext cx="307773" cy="705625"/>
            </a:xfrm>
            <a:prstGeom prst="rect">
              <a:avLst/>
            </a:prstGeom>
          </p:spPr>
        </p:pic>
        <p:pic>
          <p:nvPicPr>
            <p:cNvPr id="560" name="Picture 559"/>
            <p:cNvPicPr>
              <a:picLocks noChangeAspect="1"/>
            </p:cNvPicPr>
            <p:nvPr/>
          </p:nvPicPr>
          <p:blipFill>
            <a:blip r:embed="rId9"/>
            <a:stretch>
              <a:fillRect/>
            </a:stretch>
          </p:blipFill>
          <p:spPr>
            <a:xfrm>
              <a:off x="2447507" y="4185146"/>
              <a:ext cx="307773" cy="705625"/>
            </a:xfrm>
            <a:prstGeom prst="rect">
              <a:avLst/>
            </a:prstGeom>
          </p:spPr>
        </p:pic>
        <p:pic>
          <p:nvPicPr>
            <p:cNvPr id="561" name="Picture 56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386828" y="3994150"/>
              <a:ext cx="71362" cy="82458"/>
            </a:xfrm>
            <a:prstGeom prst="rect">
              <a:avLst/>
            </a:prstGeom>
          </p:spPr>
        </p:pic>
        <p:grpSp>
          <p:nvGrpSpPr>
            <p:cNvPr id="562" name="Group 561"/>
            <p:cNvGrpSpPr/>
            <p:nvPr/>
          </p:nvGrpSpPr>
          <p:grpSpPr>
            <a:xfrm rot="21299434">
              <a:off x="2842683" y="4584700"/>
              <a:ext cx="151199" cy="150173"/>
              <a:chOff x="1712728" y="3643026"/>
              <a:chExt cx="323426" cy="334598"/>
            </a:xfrm>
          </p:grpSpPr>
          <p:pic>
            <p:nvPicPr>
              <p:cNvPr id="725" name="Picture 72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flipH="1">
                <a:off x="1853477" y="3643026"/>
                <a:ext cx="182677" cy="267552"/>
              </a:xfrm>
              <a:prstGeom prst="rect">
                <a:avLst/>
              </a:prstGeom>
            </p:spPr>
          </p:pic>
          <p:pic>
            <p:nvPicPr>
              <p:cNvPr id="726" name="Picture 72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flipH="1">
                <a:off x="1712728" y="3801389"/>
                <a:ext cx="168460" cy="176235"/>
              </a:xfrm>
              <a:prstGeom prst="rect">
                <a:avLst/>
              </a:prstGeom>
            </p:spPr>
          </p:pic>
        </p:grpSp>
        <p:pic>
          <p:nvPicPr>
            <p:cNvPr id="563" name="Picture 56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819130" y="3850965"/>
              <a:ext cx="39058" cy="83838"/>
            </a:xfrm>
            <a:prstGeom prst="rect">
              <a:avLst/>
            </a:prstGeom>
          </p:spPr>
        </p:pic>
        <p:sp>
          <p:nvSpPr>
            <p:cNvPr id="564" name="Freeform 563"/>
            <p:cNvSpPr/>
            <p:nvPr/>
          </p:nvSpPr>
          <p:spPr>
            <a:xfrm>
              <a:off x="3116699" y="4215751"/>
              <a:ext cx="1226194" cy="481130"/>
            </a:xfrm>
            <a:custGeom>
              <a:avLst/>
              <a:gdLst>
                <a:gd name="connsiteX0" fmla="*/ 180975 w 2124075"/>
                <a:gd name="connsiteY0" fmla="*/ 0 h 833438"/>
                <a:gd name="connsiteX1" fmla="*/ 2124075 w 2124075"/>
                <a:gd name="connsiteY1" fmla="*/ 185738 h 833438"/>
                <a:gd name="connsiteX2" fmla="*/ 2000250 w 2124075"/>
                <a:gd name="connsiteY2" fmla="*/ 433388 h 833438"/>
                <a:gd name="connsiteX3" fmla="*/ 0 w 2124075"/>
                <a:gd name="connsiteY3" fmla="*/ 833438 h 833438"/>
                <a:gd name="connsiteX4" fmla="*/ 180975 w 2124075"/>
                <a:gd name="connsiteY4" fmla="*/ 0 h 833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4075" h="833438">
                  <a:moveTo>
                    <a:pt x="180975" y="0"/>
                  </a:moveTo>
                  <a:lnTo>
                    <a:pt x="2124075" y="185738"/>
                  </a:lnTo>
                  <a:lnTo>
                    <a:pt x="2000250" y="433388"/>
                  </a:lnTo>
                  <a:lnTo>
                    <a:pt x="0" y="833438"/>
                  </a:lnTo>
                  <a:lnTo>
                    <a:pt x="180975" y="0"/>
                  </a:lnTo>
                  <a:close/>
                </a:path>
              </a:pathLst>
            </a:custGeom>
            <a:solidFill>
              <a:srgbClr val="ADC886"/>
            </a:solidFill>
            <a:ln w="12700" cap="rnd" cmpd="sng" algn="ctr">
              <a:noFill/>
              <a:prstDash val="solid"/>
              <a:round/>
              <a:headEnd type="none" w="med" len="med"/>
              <a:tailEnd type="none" w="med" len="med"/>
            </a:ln>
            <a:effectLst/>
            <a:extLst>
              <a:ext uri="{91240B29-F687-4F45-9708-019B960494DF}">
                <a14:hiddenLine xmlns:a14="http://schemas.microsoft.com/office/drawing/2010/main" w="12700" cap="rnd"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1200" dirty="0">
                <a:solidFill>
                  <a:srgbClr val="FFFFFF"/>
                </a:solidFill>
                <a:latin typeface="Trebuchet MS"/>
                <a:ea typeface="Meiryo UI"/>
              </a:endParaRPr>
            </a:p>
          </p:txBody>
        </p:sp>
        <p:pic>
          <p:nvPicPr>
            <p:cNvPr id="565" name="Picture 564"/>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flipH="1">
              <a:off x="3258821" y="4291106"/>
              <a:ext cx="180693" cy="147646"/>
            </a:xfrm>
            <a:prstGeom prst="rect">
              <a:avLst/>
            </a:prstGeom>
            <a:noFill/>
            <a:ln>
              <a:noFill/>
            </a:ln>
          </p:spPr>
        </p:pic>
        <p:pic>
          <p:nvPicPr>
            <p:cNvPr id="566" name="Picture 565"/>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flipH="1">
              <a:off x="3154021" y="4478395"/>
              <a:ext cx="180693" cy="147646"/>
            </a:xfrm>
            <a:prstGeom prst="rect">
              <a:avLst/>
            </a:prstGeom>
            <a:noFill/>
            <a:ln>
              <a:noFill/>
            </a:ln>
          </p:spPr>
        </p:pic>
        <p:pic>
          <p:nvPicPr>
            <p:cNvPr id="567" name="Picture 566"/>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flipH="1">
              <a:off x="3450411" y="4387210"/>
              <a:ext cx="180693" cy="147646"/>
            </a:xfrm>
            <a:prstGeom prst="rect">
              <a:avLst/>
            </a:prstGeom>
            <a:noFill/>
            <a:ln>
              <a:noFill/>
            </a:ln>
          </p:spPr>
        </p:pic>
        <p:pic>
          <p:nvPicPr>
            <p:cNvPr id="568" name="Picture 567"/>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flipH="1">
              <a:off x="3483119" y="4233742"/>
              <a:ext cx="180693" cy="147646"/>
            </a:xfrm>
            <a:prstGeom prst="rect">
              <a:avLst/>
            </a:prstGeom>
            <a:noFill/>
            <a:ln>
              <a:noFill/>
            </a:ln>
          </p:spPr>
        </p:pic>
        <p:pic>
          <p:nvPicPr>
            <p:cNvPr id="569" name="Picture 568"/>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flipH="1">
              <a:off x="3795266" y="4366689"/>
              <a:ext cx="180693" cy="147646"/>
            </a:xfrm>
            <a:prstGeom prst="rect">
              <a:avLst/>
            </a:prstGeom>
            <a:noFill/>
            <a:ln>
              <a:noFill/>
            </a:ln>
          </p:spPr>
        </p:pic>
        <p:pic>
          <p:nvPicPr>
            <p:cNvPr id="570" name="Picture 56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03664" y="4463589"/>
              <a:ext cx="43039" cy="117107"/>
            </a:xfrm>
            <a:prstGeom prst="rect">
              <a:avLst/>
            </a:prstGeom>
          </p:spPr>
        </p:pic>
        <p:pic>
          <p:nvPicPr>
            <p:cNvPr id="571" name="Picture 570"/>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flipH="1">
              <a:off x="3998204" y="4275260"/>
              <a:ext cx="180693" cy="147646"/>
            </a:xfrm>
            <a:prstGeom prst="rect">
              <a:avLst/>
            </a:prstGeom>
            <a:noFill/>
            <a:ln>
              <a:noFill/>
            </a:ln>
          </p:spPr>
        </p:pic>
        <p:sp>
          <p:nvSpPr>
            <p:cNvPr id="572" name="Freeform 571"/>
            <p:cNvSpPr/>
            <p:nvPr/>
          </p:nvSpPr>
          <p:spPr>
            <a:xfrm>
              <a:off x="2730394" y="4536504"/>
              <a:ext cx="1494278" cy="932625"/>
            </a:xfrm>
            <a:custGeom>
              <a:avLst/>
              <a:gdLst>
                <a:gd name="connsiteX0" fmla="*/ 482600 w 2463800"/>
                <a:gd name="connsiteY0" fmla="*/ 425450 h 1098550"/>
                <a:gd name="connsiteX1" fmla="*/ 2463800 w 2463800"/>
                <a:gd name="connsiteY1" fmla="*/ 0 h 1098550"/>
                <a:gd name="connsiteX2" fmla="*/ 1847850 w 2463800"/>
                <a:gd name="connsiteY2" fmla="*/ 1098550 h 1098550"/>
                <a:gd name="connsiteX3" fmla="*/ 0 w 2463800"/>
                <a:gd name="connsiteY3" fmla="*/ 901700 h 1098550"/>
                <a:gd name="connsiteX4" fmla="*/ 482600 w 2463800"/>
                <a:gd name="connsiteY4" fmla="*/ 425450 h 1098550"/>
                <a:gd name="connsiteX0" fmla="*/ 482600 w 2463800"/>
                <a:gd name="connsiteY0" fmla="*/ 425450 h 1615540"/>
                <a:gd name="connsiteX1" fmla="*/ 2463800 w 2463800"/>
                <a:gd name="connsiteY1" fmla="*/ 0 h 1615540"/>
                <a:gd name="connsiteX2" fmla="*/ 1569190 w 2463800"/>
                <a:gd name="connsiteY2" fmla="*/ 1615540 h 1615540"/>
                <a:gd name="connsiteX3" fmla="*/ 0 w 2463800"/>
                <a:gd name="connsiteY3" fmla="*/ 901700 h 1615540"/>
                <a:gd name="connsiteX4" fmla="*/ 482600 w 2463800"/>
                <a:gd name="connsiteY4" fmla="*/ 425450 h 1615540"/>
                <a:gd name="connsiteX0" fmla="*/ 607263 w 2588463"/>
                <a:gd name="connsiteY0" fmla="*/ 425450 h 1615540"/>
                <a:gd name="connsiteX1" fmla="*/ 2588463 w 2588463"/>
                <a:gd name="connsiteY1" fmla="*/ 0 h 1615540"/>
                <a:gd name="connsiteX2" fmla="*/ 1693853 w 2588463"/>
                <a:gd name="connsiteY2" fmla="*/ 1615540 h 1615540"/>
                <a:gd name="connsiteX3" fmla="*/ 0 w 2588463"/>
                <a:gd name="connsiteY3" fmla="*/ 1019031 h 1615540"/>
                <a:gd name="connsiteX4" fmla="*/ 607263 w 2588463"/>
                <a:gd name="connsiteY4" fmla="*/ 425450 h 1615540"/>
                <a:gd name="connsiteX0" fmla="*/ 607263 w 2588463"/>
                <a:gd name="connsiteY0" fmla="*/ 425450 h 1615540"/>
                <a:gd name="connsiteX1" fmla="*/ 2588463 w 2588463"/>
                <a:gd name="connsiteY1" fmla="*/ 0 h 1615540"/>
                <a:gd name="connsiteX2" fmla="*/ 1693853 w 2588463"/>
                <a:gd name="connsiteY2" fmla="*/ 1615540 h 1615540"/>
                <a:gd name="connsiteX3" fmla="*/ 0 w 2588463"/>
                <a:gd name="connsiteY3" fmla="*/ 1019031 h 1615540"/>
                <a:gd name="connsiteX4" fmla="*/ 607263 w 2588463"/>
                <a:gd name="connsiteY4" fmla="*/ 425450 h 1615540"/>
                <a:gd name="connsiteX0" fmla="*/ 607263 w 2588463"/>
                <a:gd name="connsiteY0" fmla="*/ 425450 h 1615540"/>
                <a:gd name="connsiteX1" fmla="*/ 2588463 w 2588463"/>
                <a:gd name="connsiteY1" fmla="*/ 0 h 1615540"/>
                <a:gd name="connsiteX2" fmla="*/ 1693853 w 2588463"/>
                <a:gd name="connsiteY2" fmla="*/ 1615540 h 1615540"/>
                <a:gd name="connsiteX3" fmla="*/ 0 w 2588463"/>
                <a:gd name="connsiteY3" fmla="*/ 1019031 h 1615540"/>
                <a:gd name="connsiteX4" fmla="*/ 607263 w 2588463"/>
                <a:gd name="connsiteY4" fmla="*/ 425450 h 1615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8463" h="1615540">
                  <a:moveTo>
                    <a:pt x="607263" y="425450"/>
                  </a:moveTo>
                  <a:lnTo>
                    <a:pt x="2588463" y="0"/>
                  </a:lnTo>
                  <a:lnTo>
                    <a:pt x="1693853" y="1615540"/>
                  </a:lnTo>
                  <a:cubicBezTo>
                    <a:pt x="1096235" y="1486368"/>
                    <a:pt x="414288" y="1294866"/>
                    <a:pt x="0" y="1019031"/>
                  </a:cubicBezTo>
                  <a:lnTo>
                    <a:pt x="607263" y="425450"/>
                  </a:lnTo>
                  <a:close/>
                </a:path>
              </a:pathLst>
            </a:custGeom>
            <a:solidFill>
              <a:srgbClr val="ADC886"/>
            </a:solidFill>
            <a:ln w="12700" cap="rnd" cmpd="sng" algn="ctr">
              <a:noFill/>
              <a:prstDash val="solid"/>
              <a:round/>
              <a:headEnd type="none" w="med" len="med"/>
              <a:tailEnd type="none" w="med" len="med"/>
            </a:ln>
            <a:effectLst/>
            <a:extLst>
              <a:ext uri="{91240B29-F687-4F45-9708-019B960494DF}">
                <a14:hiddenLine xmlns:a14="http://schemas.microsoft.com/office/drawing/2010/main" w="12700" cap="rnd"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1200" dirty="0">
                <a:solidFill>
                  <a:srgbClr val="FFFFFF"/>
                </a:solidFill>
                <a:latin typeface="Trebuchet MS"/>
                <a:ea typeface="Meiryo UI"/>
              </a:endParaRPr>
            </a:p>
          </p:txBody>
        </p:sp>
        <p:pic>
          <p:nvPicPr>
            <p:cNvPr id="573" name="Picture 57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3213661" y="4197549"/>
              <a:ext cx="74200" cy="92972"/>
            </a:xfrm>
            <a:prstGeom prst="rect">
              <a:avLst/>
            </a:prstGeom>
          </p:spPr>
        </p:pic>
        <p:pic>
          <p:nvPicPr>
            <p:cNvPr id="574" name="Picture 57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4262777" y="4263867"/>
              <a:ext cx="74200" cy="92972"/>
            </a:xfrm>
            <a:prstGeom prst="rect">
              <a:avLst/>
            </a:prstGeom>
          </p:spPr>
        </p:pic>
        <p:pic>
          <p:nvPicPr>
            <p:cNvPr id="575" name="Picture 5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4211955" y="4373892"/>
              <a:ext cx="74200" cy="92972"/>
            </a:xfrm>
            <a:prstGeom prst="rect">
              <a:avLst/>
            </a:prstGeom>
          </p:spPr>
        </p:pic>
        <p:pic>
          <p:nvPicPr>
            <p:cNvPr id="576" name="Picture 57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3877907" y="4281700"/>
              <a:ext cx="74200" cy="92972"/>
            </a:xfrm>
            <a:prstGeom prst="rect">
              <a:avLst/>
            </a:prstGeom>
          </p:spPr>
        </p:pic>
        <p:pic>
          <p:nvPicPr>
            <p:cNvPr id="577" name="Picture 57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3730229" y="4304694"/>
              <a:ext cx="74200" cy="92972"/>
            </a:xfrm>
            <a:prstGeom prst="rect">
              <a:avLst/>
            </a:prstGeom>
          </p:spPr>
        </p:pic>
        <p:pic>
          <p:nvPicPr>
            <p:cNvPr id="578" name="Picture 57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3635117" y="4223308"/>
              <a:ext cx="74200" cy="92972"/>
            </a:xfrm>
            <a:prstGeom prst="rect">
              <a:avLst/>
            </a:prstGeom>
          </p:spPr>
        </p:pic>
        <p:pic>
          <p:nvPicPr>
            <p:cNvPr id="579" name="Picture 57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3616765" y="4388382"/>
              <a:ext cx="74200" cy="92972"/>
            </a:xfrm>
            <a:prstGeom prst="rect">
              <a:avLst/>
            </a:prstGeom>
          </p:spPr>
        </p:pic>
        <p:pic>
          <p:nvPicPr>
            <p:cNvPr id="580" name="Picture 57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3577010" y="4516825"/>
              <a:ext cx="74200" cy="92972"/>
            </a:xfrm>
            <a:prstGeom prst="rect">
              <a:avLst/>
            </a:prstGeom>
          </p:spPr>
        </p:pic>
        <p:pic>
          <p:nvPicPr>
            <p:cNvPr id="581" name="Picture 58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3384493" y="4241286"/>
              <a:ext cx="74200" cy="92972"/>
            </a:xfrm>
            <a:prstGeom prst="rect">
              <a:avLst/>
            </a:prstGeom>
          </p:spPr>
        </p:pic>
        <p:sp>
          <p:nvSpPr>
            <p:cNvPr id="582" name="Oval 296"/>
            <p:cNvSpPr/>
            <p:nvPr/>
          </p:nvSpPr>
          <p:spPr bwMode="auto">
            <a:xfrm>
              <a:off x="4156245" y="5099397"/>
              <a:ext cx="1907532" cy="517263"/>
            </a:xfrm>
            <a:custGeom>
              <a:avLst/>
              <a:gdLst>
                <a:gd name="connsiteX0" fmla="*/ 0 w 2827866"/>
                <a:gd name="connsiteY0" fmla="*/ 579967 h 1159933"/>
                <a:gd name="connsiteX1" fmla="*/ 1413933 w 2827866"/>
                <a:gd name="connsiteY1" fmla="*/ 0 h 1159933"/>
                <a:gd name="connsiteX2" fmla="*/ 2827866 w 2827866"/>
                <a:gd name="connsiteY2" fmla="*/ 579967 h 1159933"/>
                <a:gd name="connsiteX3" fmla="*/ 1413933 w 2827866"/>
                <a:gd name="connsiteY3" fmla="*/ 1159934 h 1159933"/>
                <a:gd name="connsiteX4" fmla="*/ 0 w 2827866"/>
                <a:gd name="connsiteY4" fmla="*/ 579967 h 1159933"/>
                <a:gd name="connsiteX0" fmla="*/ 73394 w 2901260"/>
                <a:gd name="connsiteY0" fmla="*/ 579967 h 1169396"/>
                <a:gd name="connsiteX1" fmla="*/ 1487327 w 2901260"/>
                <a:gd name="connsiteY1" fmla="*/ 0 h 1169396"/>
                <a:gd name="connsiteX2" fmla="*/ 2901260 w 2901260"/>
                <a:gd name="connsiteY2" fmla="*/ 579967 h 1169396"/>
                <a:gd name="connsiteX3" fmla="*/ 1487327 w 2901260"/>
                <a:gd name="connsiteY3" fmla="*/ 1159934 h 1169396"/>
                <a:gd name="connsiteX4" fmla="*/ 335860 w 2901260"/>
                <a:gd name="connsiteY4" fmla="*/ 914400 h 1169396"/>
                <a:gd name="connsiteX5" fmla="*/ 73394 w 2901260"/>
                <a:gd name="connsiteY5" fmla="*/ 579967 h 1169396"/>
                <a:gd name="connsiteX0" fmla="*/ 73394 w 2964842"/>
                <a:gd name="connsiteY0" fmla="*/ 579967 h 1160122"/>
                <a:gd name="connsiteX1" fmla="*/ 1487327 w 2964842"/>
                <a:gd name="connsiteY1" fmla="*/ 0 h 1160122"/>
                <a:gd name="connsiteX2" fmla="*/ 2901260 w 2964842"/>
                <a:gd name="connsiteY2" fmla="*/ 579967 h 1160122"/>
                <a:gd name="connsiteX3" fmla="*/ 2596460 w 2964842"/>
                <a:gd name="connsiteY3" fmla="*/ 876299 h 1160122"/>
                <a:gd name="connsiteX4" fmla="*/ 1487327 w 2964842"/>
                <a:gd name="connsiteY4" fmla="*/ 1159934 h 1160122"/>
                <a:gd name="connsiteX5" fmla="*/ 335860 w 2964842"/>
                <a:gd name="connsiteY5" fmla="*/ 914400 h 1160122"/>
                <a:gd name="connsiteX6" fmla="*/ 73394 w 2964842"/>
                <a:gd name="connsiteY6" fmla="*/ 579967 h 1160122"/>
                <a:gd name="connsiteX0" fmla="*/ 73394 w 2596460"/>
                <a:gd name="connsiteY0" fmla="*/ 585190 h 1165345"/>
                <a:gd name="connsiteX1" fmla="*/ 1487327 w 2596460"/>
                <a:gd name="connsiteY1" fmla="*/ 5223 h 1165345"/>
                <a:gd name="connsiteX2" fmla="*/ 2596460 w 2596460"/>
                <a:gd name="connsiteY2" fmla="*/ 881522 h 1165345"/>
                <a:gd name="connsiteX3" fmla="*/ 1487327 w 2596460"/>
                <a:gd name="connsiteY3" fmla="*/ 1165157 h 1165345"/>
                <a:gd name="connsiteX4" fmla="*/ 335860 w 2596460"/>
                <a:gd name="connsiteY4" fmla="*/ 919623 h 1165345"/>
                <a:gd name="connsiteX5" fmla="*/ 73394 w 2596460"/>
                <a:gd name="connsiteY5" fmla="*/ 585190 h 1165345"/>
                <a:gd name="connsiteX0" fmla="*/ 73394 w 2596460"/>
                <a:gd name="connsiteY0" fmla="*/ 144 h 580299"/>
                <a:gd name="connsiteX1" fmla="*/ 2596460 w 2596460"/>
                <a:gd name="connsiteY1" fmla="*/ 296476 h 580299"/>
                <a:gd name="connsiteX2" fmla="*/ 1487327 w 2596460"/>
                <a:gd name="connsiteY2" fmla="*/ 580111 h 580299"/>
                <a:gd name="connsiteX3" fmla="*/ 335860 w 2596460"/>
                <a:gd name="connsiteY3" fmla="*/ 334577 h 580299"/>
                <a:gd name="connsiteX4" fmla="*/ 73394 w 2596460"/>
                <a:gd name="connsiteY4" fmla="*/ 144 h 580299"/>
                <a:gd name="connsiteX0" fmla="*/ 73564 w 2596630"/>
                <a:gd name="connsiteY0" fmla="*/ 1787 h 586646"/>
                <a:gd name="connsiteX1" fmla="*/ 2596630 w 2596630"/>
                <a:gd name="connsiteY1" fmla="*/ 298119 h 586646"/>
                <a:gd name="connsiteX2" fmla="*/ 1487497 w 2596630"/>
                <a:gd name="connsiteY2" fmla="*/ 581754 h 586646"/>
                <a:gd name="connsiteX3" fmla="*/ 746663 w 2596630"/>
                <a:gd name="connsiteY3" fmla="*/ 442053 h 586646"/>
                <a:gd name="connsiteX4" fmla="*/ 73564 w 2596630"/>
                <a:gd name="connsiteY4" fmla="*/ 1787 h 586646"/>
                <a:gd name="connsiteX0" fmla="*/ 73564 w 2596630"/>
                <a:gd name="connsiteY0" fmla="*/ 1787 h 544348"/>
                <a:gd name="connsiteX1" fmla="*/ 2596630 w 2596630"/>
                <a:gd name="connsiteY1" fmla="*/ 298119 h 544348"/>
                <a:gd name="connsiteX2" fmla="*/ 1881197 w 2596630"/>
                <a:gd name="connsiteY2" fmla="*/ 535187 h 544348"/>
                <a:gd name="connsiteX3" fmla="*/ 746663 w 2596630"/>
                <a:gd name="connsiteY3" fmla="*/ 442053 h 544348"/>
                <a:gd name="connsiteX4" fmla="*/ 73564 w 2596630"/>
                <a:gd name="connsiteY4" fmla="*/ 1787 h 544348"/>
                <a:gd name="connsiteX0" fmla="*/ 73564 w 2596630"/>
                <a:gd name="connsiteY0" fmla="*/ 1699 h 556960"/>
                <a:gd name="connsiteX1" fmla="*/ 2596630 w 2596630"/>
                <a:gd name="connsiteY1" fmla="*/ 310731 h 556960"/>
                <a:gd name="connsiteX2" fmla="*/ 1881197 w 2596630"/>
                <a:gd name="connsiteY2" fmla="*/ 547799 h 556960"/>
                <a:gd name="connsiteX3" fmla="*/ 746663 w 2596630"/>
                <a:gd name="connsiteY3" fmla="*/ 454665 h 556960"/>
                <a:gd name="connsiteX4" fmla="*/ 73564 w 2596630"/>
                <a:gd name="connsiteY4" fmla="*/ 1699 h 556960"/>
                <a:gd name="connsiteX0" fmla="*/ 0 w 2523066"/>
                <a:gd name="connsiteY0" fmla="*/ 1699 h 556960"/>
                <a:gd name="connsiteX1" fmla="*/ 2523066 w 2523066"/>
                <a:gd name="connsiteY1" fmla="*/ 310731 h 556960"/>
                <a:gd name="connsiteX2" fmla="*/ 1807633 w 2523066"/>
                <a:gd name="connsiteY2" fmla="*/ 547799 h 556960"/>
                <a:gd name="connsiteX3" fmla="*/ 673099 w 2523066"/>
                <a:gd name="connsiteY3" fmla="*/ 454665 h 556960"/>
                <a:gd name="connsiteX4" fmla="*/ 0 w 2523066"/>
                <a:gd name="connsiteY4" fmla="*/ 1699 h 556960"/>
                <a:gd name="connsiteX0" fmla="*/ 0 w 2408766"/>
                <a:gd name="connsiteY0" fmla="*/ 2971 h 448165"/>
                <a:gd name="connsiteX1" fmla="*/ 2408766 w 2408766"/>
                <a:gd name="connsiteY1" fmla="*/ 201936 h 448165"/>
                <a:gd name="connsiteX2" fmla="*/ 1693333 w 2408766"/>
                <a:gd name="connsiteY2" fmla="*/ 439004 h 448165"/>
                <a:gd name="connsiteX3" fmla="*/ 558799 w 2408766"/>
                <a:gd name="connsiteY3" fmla="*/ 345870 h 448165"/>
                <a:gd name="connsiteX4" fmla="*/ 0 w 2408766"/>
                <a:gd name="connsiteY4" fmla="*/ 2971 h 448165"/>
                <a:gd name="connsiteX0" fmla="*/ 0 w 2408766"/>
                <a:gd name="connsiteY0" fmla="*/ 0 h 445194"/>
                <a:gd name="connsiteX1" fmla="*/ 2408766 w 2408766"/>
                <a:gd name="connsiteY1" fmla="*/ 198965 h 445194"/>
                <a:gd name="connsiteX2" fmla="*/ 1693333 w 2408766"/>
                <a:gd name="connsiteY2" fmla="*/ 436033 h 445194"/>
                <a:gd name="connsiteX3" fmla="*/ 558799 w 2408766"/>
                <a:gd name="connsiteY3" fmla="*/ 342899 h 445194"/>
                <a:gd name="connsiteX4" fmla="*/ 0 w 2408766"/>
                <a:gd name="connsiteY4" fmla="*/ 0 h 445194"/>
                <a:gd name="connsiteX0" fmla="*/ 0 w 2408766"/>
                <a:gd name="connsiteY0" fmla="*/ 0 h 425285"/>
                <a:gd name="connsiteX1" fmla="*/ 2408766 w 2408766"/>
                <a:gd name="connsiteY1" fmla="*/ 198965 h 425285"/>
                <a:gd name="connsiteX2" fmla="*/ 1735667 w 2408766"/>
                <a:gd name="connsiteY2" fmla="*/ 410633 h 425285"/>
                <a:gd name="connsiteX3" fmla="*/ 558799 w 2408766"/>
                <a:gd name="connsiteY3" fmla="*/ 342899 h 425285"/>
                <a:gd name="connsiteX4" fmla="*/ 0 w 2408766"/>
                <a:gd name="connsiteY4" fmla="*/ 0 h 425285"/>
                <a:gd name="connsiteX0" fmla="*/ 0 w 2366432"/>
                <a:gd name="connsiteY0" fmla="*/ 0 h 387185"/>
                <a:gd name="connsiteX1" fmla="*/ 2366432 w 2366432"/>
                <a:gd name="connsiteY1" fmla="*/ 160865 h 387185"/>
                <a:gd name="connsiteX2" fmla="*/ 1693333 w 2366432"/>
                <a:gd name="connsiteY2" fmla="*/ 372533 h 387185"/>
                <a:gd name="connsiteX3" fmla="*/ 516465 w 2366432"/>
                <a:gd name="connsiteY3" fmla="*/ 304799 h 387185"/>
                <a:gd name="connsiteX4" fmla="*/ 0 w 2366432"/>
                <a:gd name="connsiteY4" fmla="*/ 0 h 387185"/>
                <a:gd name="connsiteX0" fmla="*/ 0 w 2366432"/>
                <a:gd name="connsiteY0" fmla="*/ 0 h 387185"/>
                <a:gd name="connsiteX1" fmla="*/ 2366432 w 2366432"/>
                <a:gd name="connsiteY1" fmla="*/ 160865 h 387185"/>
                <a:gd name="connsiteX2" fmla="*/ 1693333 w 2366432"/>
                <a:gd name="connsiteY2" fmla="*/ 372533 h 387185"/>
                <a:gd name="connsiteX3" fmla="*/ 516465 w 2366432"/>
                <a:gd name="connsiteY3" fmla="*/ 304799 h 387185"/>
                <a:gd name="connsiteX4" fmla="*/ 0 w 2366432"/>
                <a:gd name="connsiteY4" fmla="*/ 0 h 387185"/>
                <a:gd name="connsiteX0" fmla="*/ 0 w 2366432"/>
                <a:gd name="connsiteY0" fmla="*/ 0 h 385704"/>
                <a:gd name="connsiteX1" fmla="*/ 2366432 w 2366432"/>
                <a:gd name="connsiteY1" fmla="*/ 160865 h 385704"/>
                <a:gd name="connsiteX2" fmla="*/ 1693333 w 2366432"/>
                <a:gd name="connsiteY2" fmla="*/ 372533 h 385704"/>
                <a:gd name="connsiteX3" fmla="*/ 512231 w 2366432"/>
                <a:gd name="connsiteY3" fmla="*/ 300566 h 385704"/>
                <a:gd name="connsiteX4" fmla="*/ 0 w 2366432"/>
                <a:gd name="connsiteY4" fmla="*/ 0 h 385704"/>
                <a:gd name="connsiteX0" fmla="*/ 0 w 2362199"/>
                <a:gd name="connsiteY0" fmla="*/ 0 h 322204"/>
                <a:gd name="connsiteX1" fmla="*/ 2362199 w 2362199"/>
                <a:gd name="connsiteY1" fmla="*/ 97365 h 322204"/>
                <a:gd name="connsiteX2" fmla="*/ 1689100 w 2362199"/>
                <a:gd name="connsiteY2" fmla="*/ 309033 h 322204"/>
                <a:gd name="connsiteX3" fmla="*/ 507998 w 2362199"/>
                <a:gd name="connsiteY3" fmla="*/ 237066 h 322204"/>
                <a:gd name="connsiteX4" fmla="*/ 0 w 2362199"/>
                <a:gd name="connsiteY4" fmla="*/ 0 h 322204"/>
                <a:gd name="connsiteX0" fmla="*/ 0 w 2362199"/>
                <a:gd name="connsiteY0" fmla="*/ 0 h 322204"/>
                <a:gd name="connsiteX1" fmla="*/ 2362199 w 2362199"/>
                <a:gd name="connsiteY1" fmla="*/ 97365 h 322204"/>
                <a:gd name="connsiteX2" fmla="*/ 1689100 w 2362199"/>
                <a:gd name="connsiteY2" fmla="*/ 309033 h 322204"/>
                <a:gd name="connsiteX3" fmla="*/ 507998 w 2362199"/>
                <a:gd name="connsiteY3" fmla="*/ 237066 h 322204"/>
                <a:gd name="connsiteX4" fmla="*/ 0 w 2362199"/>
                <a:gd name="connsiteY4" fmla="*/ 0 h 322204"/>
                <a:gd name="connsiteX0" fmla="*/ 0 w 2362199"/>
                <a:gd name="connsiteY0" fmla="*/ 0 h 322204"/>
                <a:gd name="connsiteX1" fmla="*/ 2362199 w 2362199"/>
                <a:gd name="connsiteY1" fmla="*/ 97365 h 322204"/>
                <a:gd name="connsiteX2" fmla="*/ 1689100 w 2362199"/>
                <a:gd name="connsiteY2" fmla="*/ 309033 h 322204"/>
                <a:gd name="connsiteX3" fmla="*/ 507998 w 2362199"/>
                <a:gd name="connsiteY3" fmla="*/ 237066 h 322204"/>
                <a:gd name="connsiteX4" fmla="*/ 0 w 2362199"/>
                <a:gd name="connsiteY4" fmla="*/ 0 h 322204"/>
                <a:gd name="connsiteX0" fmla="*/ 0 w 2362199"/>
                <a:gd name="connsiteY0" fmla="*/ 0 h 321284"/>
                <a:gd name="connsiteX1" fmla="*/ 2362199 w 2362199"/>
                <a:gd name="connsiteY1" fmla="*/ 97365 h 321284"/>
                <a:gd name="connsiteX2" fmla="*/ 1689100 w 2362199"/>
                <a:gd name="connsiteY2" fmla="*/ 309033 h 321284"/>
                <a:gd name="connsiteX3" fmla="*/ 507998 w 2362199"/>
                <a:gd name="connsiteY3" fmla="*/ 237066 h 321284"/>
                <a:gd name="connsiteX4" fmla="*/ 0 w 2362199"/>
                <a:gd name="connsiteY4" fmla="*/ 0 h 321284"/>
                <a:gd name="connsiteX0" fmla="*/ 0 w 2362199"/>
                <a:gd name="connsiteY0" fmla="*/ 0 h 306751"/>
                <a:gd name="connsiteX1" fmla="*/ 2362199 w 2362199"/>
                <a:gd name="connsiteY1" fmla="*/ 97365 h 306751"/>
                <a:gd name="connsiteX2" fmla="*/ 1689100 w 2362199"/>
                <a:gd name="connsiteY2" fmla="*/ 287866 h 306751"/>
                <a:gd name="connsiteX3" fmla="*/ 507998 w 2362199"/>
                <a:gd name="connsiteY3" fmla="*/ 237066 h 306751"/>
                <a:gd name="connsiteX4" fmla="*/ 0 w 2362199"/>
                <a:gd name="connsiteY4" fmla="*/ 0 h 306751"/>
                <a:gd name="connsiteX0" fmla="*/ 0 w 2362199"/>
                <a:gd name="connsiteY0" fmla="*/ 0 h 312382"/>
                <a:gd name="connsiteX1" fmla="*/ 2362199 w 2362199"/>
                <a:gd name="connsiteY1" fmla="*/ 97365 h 312382"/>
                <a:gd name="connsiteX2" fmla="*/ 1689100 w 2362199"/>
                <a:gd name="connsiteY2" fmla="*/ 287866 h 312382"/>
                <a:gd name="connsiteX3" fmla="*/ 507998 w 2362199"/>
                <a:gd name="connsiteY3" fmla="*/ 237066 h 312382"/>
                <a:gd name="connsiteX4" fmla="*/ 0 w 2362199"/>
                <a:gd name="connsiteY4" fmla="*/ 0 h 312382"/>
                <a:gd name="connsiteX0" fmla="*/ 0 w 2362199"/>
                <a:gd name="connsiteY0" fmla="*/ 0 h 322749"/>
                <a:gd name="connsiteX1" fmla="*/ 2362199 w 2362199"/>
                <a:gd name="connsiteY1" fmla="*/ 97365 h 322749"/>
                <a:gd name="connsiteX2" fmla="*/ 1689100 w 2362199"/>
                <a:gd name="connsiteY2" fmla="*/ 287866 h 322749"/>
                <a:gd name="connsiteX3" fmla="*/ 507998 w 2362199"/>
                <a:gd name="connsiteY3" fmla="*/ 237066 h 322749"/>
                <a:gd name="connsiteX4" fmla="*/ 0 w 2362199"/>
                <a:gd name="connsiteY4" fmla="*/ 0 h 322749"/>
                <a:gd name="connsiteX0" fmla="*/ 0 w 2362199"/>
                <a:gd name="connsiteY0" fmla="*/ 0 h 322749"/>
                <a:gd name="connsiteX1" fmla="*/ 855132 w 2362199"/>
                <a:gd name="connsiteY1" fmla="*/ 88900 h 322749"/>
                <a:gd name="connsiteX2" fmla="*/ 2362199 w 2362199"/>
                <a:gd name="connsiteY2" fmla="*/ 97365 h 322749"/>
                <a:gd name="connsiteX3" fmla="*/ 1689100 w 2362199"/>
                <a:gd name="connsiteY3" fmla="*/ 287866 h 322749"/>
                <a:gd name="connsiteX4" fmla="*/ 507998 w 2362199"/>
                <a:gd name="connsiteY4" fmla="*/ 237066 h 322749"/>
                <a:gd name="connsiteX5" fmla="*/ 0 w 2362199"/>
                <a:gd name="connsiteY5" fmla="*/ 0 h 322749"/>
                <a:gd name="connsiteX0" fmla="*/ 0 w 2362199"/>
                <a:gd name="connsiteY0" fmla="*/ 0 h 322749"/>
                <a:gd name="connsiteX1" fmla="*/ 855132 w 2362199"/>
                <a:gd name="connsiteY1" fmla="*/ 88900 h 322749"/>
                <a:gd name="connsiteX2" fmla="*/ 1646765 w 2362199"/>
                <a:gd name="connsiteY2" fmla="*/ 50800 h 322749"/>
                <a:gd name="connsiteX3" fmla="*/ 2362199 w 2362199"/>
                <a:gd name="connsiteY3" fmla="*/ 97365 h 322749"/>
                <a:gd name="connsiteX4" fmla="*/ 1689100 w 2362199"/>
                <a:gd name="connsiteY4" fmla="*/ 287866 h 322749"/>
                <a:gd name="connsiteX5" fmla="*/ 507998 w 2362199"/>
                <a:gd name="connsiteY5" fmla="*/ 237066 h 322749"/>
                <a:gd name="connsiteX6" fmla="*/ 0 w 2362199"/>
                <a:gd name="connsiteY6" fmla="*/ 0 h 322749"/>
                <a:gd name="connsiteX0" fmla="*/ 0 w 2362199"/>
                <a:gd name="connsiteY0" fmla="*/ 0 h 322749"/>
                <a:gd name="connsiteX1" fmla="*/ 855132 w 2362199"/>
                <a:gd name="connsiteY1" fmla="*/ 88900 h 322749"/>
                <a:gd name="connsiteX2" fmla="*/ 1646765 w 2362199"/>
                <a:gd name="connsiteY2" fmla="*/ 50800 h 322749"/>
                <a:gd name="connsiteX3" fmla="*/ 2362199 w 2362199"/>
                <a:gd name="connsiteY3" fmla="*/ 97365 h 322749"/>
                <a:gd name="connsiteX4" fmla="*/ 1689100 w 2362199"/>
                <a:gd name="connsiteY4" fmla="*/ 287866 h 322749"/>
                <a:gd name="connsiteX5" fmla="*/ 507998 w 2362199"/>
                <a:gd name="connsiteY5" fmla="*/ 237066 h 322749"/>
                <a:gd name="connsiteX6" fmla="*/ 0 w 2362199"/>
                <a:gd name="connsiteY6" fmla="*/ 0 h 322749"/>
                <a:gd name="connsiteX0" fmla="*/ 0 w 2362199"/>
                <a:gd name="connsiteY0" fmla="*/ 0 h 322749"/>
                <a:gd name="connsiteX1" fmla="*/ 855132 w 2362199"/>
                <a:gd name="connsiteY1" fmla="*/ 88900 h 322749"/>
                <a:gd name="connsiteX2" fmla="*/ 1646765 w 2362199"/>
                <a:gd name="connsiteY2" fmla="*/ 50800 h 322749"/>
                <a:gd name="connsiteX3" fmla="*/ 2362199 w 2362199"/>
                <a:gd name="connsiteY3" fmla="*/ 97365 h 322749"/>
                <a:gd name="connsiteX4" fmla="*/ 1689100 w 2362199"/>
                <a:gd name="connsiteY4" fmla="*/ 287866 h 322749"/>
                <a:gd name="connsiteX5" fmla="*/ 507998 w 2362199"/>
                <a:gd name="connsiteY5" fmla="*/ 237066 h 322749"/>
                <a:gd name="connsiteX6" fmla="*/ 0 w 2362199"/>
                <a:gd name="connsiteY6" fmla="*/ 0 h 322749"/>
                <a:gd name="connsiteX0" fmla="*/ 0 w 2362199"/>
                <a:gd name="connsiteY0" fmla="*/ 0 h 313329"/>
                <a:gd name="connsiteX1" fmla="*/ 855132 w 2362199"/>
                <a:gd name="connsiteY1" fmla="*/ 88900 h 313329"/>
                <a:gd name="connsiteX2" fmla="*/ 1646765 w 2362199"/>
                <a:gd name="connsiteY2" fmla="*/ 50800 h 313329"/>
                <a:gd name="connsiteX3" fmla="*/ 2362199 w 2362199"/>
                <a:gd name="connsiteY3" fmla="*/ 97365 h 313329"/>
                <a:gd name="connsiteX4" fmla="*/ 1680649 w 2362199"/>
                <a:gd name="connsiteY4" fmla="*/ 270997 h 313329"/>
                <a:gd name="connsiteX5" fmla="*/ 507998 w 2362199"/>
                <a:gd name="connsiteY5" fmla="*/ 237066 h 313329"/>
                <a:gd name="connsiteX6" fmla="*/ 0 w 2362199"/>
                <a:gd name="connsiteY6" fmla="*/ 0 h 313329"/>
                <a:gd name="connsiteX0" fmla="*/ 0 w 2362199"/>
                <a:gd name="connsiteY0" fmla="*/ 0 h 313329"/>
                <a:gd name="connsiteX1" fmla="*/ 855132 w 2362199"/>
                <a:gd name="connsiteY1" fmla="*/ 88900 h 313329"/>
                <a:gd name="connsiteX2" fmla="*/ 1646765 w 2362199"/>
                <a:gd name="connsiteY2" fmla="*/ 50800 h 313329"/>
                <a:gd name="connsiteX3" fmla="*/ 2362199 w 2362199"/>
                <a:gd name="connsiteY3" fmla="*/ 97365 h 313329"/>
                <a:gd name="connsiteX4" fmla="*/ 1680649 w 2362199"/>
                <a:gd name="connsiteY4" fmla="*/ 270997 h 313329"/>
                <a:gd name="connsiteX5" fmla="*/ 507998 w 2362199"/>
                <a:gd name="connsiteY5" fmla="*/ 237066 h 313329"/>
                <a:gd name="connsiteX6" fmla="*/ 0 w 2362199"/>
                <a:gd name="connsiteY6" fmla="*/ 0 h 313329"/>
                <a:gd name="connsiteX0" fmla="*/ 0 w 2362199"/>
                <a:gd name="connsiteY0" fmla="*/ 0 h 305880"/>
                <a:gd name="connsiteX1" fmla="*/ 855132 w 2362199"/>
                <a:gd name="connsiteY1" fmla="*/ 88900 h 305880"/>
                <a:gd name="connsiteX2" fmla="*/ 1646765 w 2362199"/>
                <a:gd name="connsiteY2" fmla="*/ 50800 h 305880"/>
                <a:gd name="connsiteX3" fmla="*/ 2362199 w 2362199"/>
                <a:gd name="connsiteY3" fmla="*/ 97365 h 305880"/>
                <a:gd name="connsiteX4" fmla="*/ 1680649 w 2362199"/>
                <a:gd name="connsiteY4" fmla="*/ 270997 h 305880"/>
                <a:gd name="connsiteX5" fmla="*/ 512224 w 2362199"/>
                <a:gd name="connsiteY5" fmla="*/ 220197 h 305880"/>
                <a:gd name="connsiteX6" fmla="*/ 0 w 2362199"/>
                <a:gd name="connsiteY6" fmla="*/ 0 h 305880"/>
                <a:gd name="connsiteX0" fmla="*/ 0 w 2362199"/>
                <a:gd name="connsiteY0" fmla="*/ 1380 h 307260"/>
                <a:gd name="connsiteX1" fmla="*/ 855132 w 2362199"/>
                <a:gd name="connsiteY1" fmla="*/ 90280 h 307260"/>
                <a:gd name="connsiteX2" fmla="*/ 1634088 w 2362199"/>
                <a:gd name="connsiteY2" fmla="*/ 1575 h 307260"/>
                <a:gd name="connsiteX3" fmla="*/ 2362199 w 2362199"/>
                <a:gd name="connsiteY3" fmla="*/ 98745 h 307260"/>
                <a:gd name="connsiteX4" fmla="*/ 1680649 w 2362199"/>
                <a:gd name="connsiteY4" fmla="*/ 272377 h 307260"/>
                <a:gd name="connsiteX5" fmla="*/ 512224 w 2362199"/>
                <a:gd name="connsiteY5" fmla="*/ 221577 h 307260"/>
                <a:gd name="connsiteX6" fmla="*/ 0 w 2362199"/>
                <a:gd name="connsiteY6" fmla="*/ 1380 h 307260"/>
                <a:gd name="connsiteX0" fmla="*/ 0 w 2342423"/>
                <a:gd name="connsiteY0" fmla="*/ 1380 h 307260"/>
                <a:gd name="connsiteX1" fmla="*/ 855132 w 2342423"/>
                <a:gd name="connsiteY1" fmla="*/ 90280 h 307260"/>
                <a:gd name="connsiteX2" fmla="*/ 1634088 w 2342423"/>
                <a:gd name="connsiteY2" fmla="*/ 1575 h 307260"/>
                <a:gd name="connsiteX3" fmla="*/ 2342423 w 2342423"/>
                <a:gd name="connsiteY3" fmla="*/ 63154 h 307260"/>
                <a:gd name="connsiteX4" fmla="*/ 1680649 w 2342423"/>
                <a:gd name="connsiteY4" fmla="*/ 272377 h 307260"/>
                <a:gd name="connsiteX5" fmla="*/ 512224 w 2342423"/>
                <a:gd name="connsiteY5" fmla="*/ 221577 h 307260"/>
                <a:gd name="connsiteX6" fmla="*/ 0 w 2342423"/>
                <a:gd name="connsiteY6" fmla="*/ 1380 h 307260"/>
                <a:gd name="connsiteX0" fmla="*/ 0 w 2342423"/>
                <a:gd name="connsiteY0" fmla="*/ 1380 h 307260"/>
                <a:gd name="connsiteX1" fmla="*/ 855132 w 2342423"/>
                <a:gd name="connsiteY1" fmla="*/ 90280 h 307260"/>
                <a:gd name="connsiteX2" fmla="*/ 1634088 w 2342423"/>
                <a:gd name="connsiteY2" fmla="*/ 1575 h 307260"/>
                <a:gd name="connsiteX3" fmla="*/ 2342423 w 2342423"/>
                <a:gd name="connsiteY3" fmla="*/ 63154 h 307260"/>
                <a:gd name="connsiteX4" fmla="*/ 1680649 w 2342423"/>
                <a:gd name="connsiteY4" fmla="*/ 272377 h 307260"/>
                <a:gd name="connsiteX5" fmla="*/ 512224 w 2342423"/>
                <a:gd name="connsiteY5" fmla="*/ 221577 h 307260"/>
                <a:gd name="connsiteX6" fmla="*/ 0 w 2342423"/>
                <a:gd name="connsiteY6" fmla="*/ 1380 h 307260"/>
                <a:gd name="connsiteX0" fmla="*/ 0 w 2342423"/>
                <a:gd name="connsiteY0" fmla="*/ 1380 h 307260"/>
                <a:gd name="connsiteX1" fmla="*/ 855132 w 2342423"/>
                <a:gd name="connsiteY1" fmla="*/ 90280 h 307260"/>
                <a:gd name="connsiteX2" fmla="*/ 1634088 w 2342423"/>
                <a:gd name="connsiteY2" fmla="*/ 1575 h 307260"/>
                <a:gd name="connsiteX3" fmla="*/ 2342423 w 2342423"/>
                <a:gd name="connsiteY3" fmla="*/ 63154 h 307260"/>
                <a:gd name="connsiteX4" fmla="*/ 1680649 w 2342423"/>
                <a:gd name="connsiteY4" fmla="*/ 272377 h 307260"/>
                <a:gd name="connsiteX5" fmla="*/ 512224 w 2342423"/>
                <a:gd name="connsiteY5" fmla="*/ 221577 h 307260"/>
                <a:gd name="connsiteX6" fmla="*/ 0 w 2342423"/>
                <a:gd name="connsiteY6" fmla="*/ 1380 h 307260"/>
                <a:gd name="connsiteX0" fmla="*/ 0 w 2342423"/>
                <a:gd name="connsiteY0" fmla="*/ 1380 h 307260"/>
                <a:gd name="connsiteX1" fmla="*/ 855132 w 2342423"/>
                <a:gd name="connsiteY1" fmla="*/ 90280 h 307260"/>
                <a:gd name="connsiteX2" fmla="*/ 1634088 w 2342423"/>
                <a:gd name="connsiteY2" fmla="*/ 1575 h 307260"/>
                <a:gd name="connsiteX3" fmla="*/ 2342423 w 2342423"/>
                <a:gd name="connsiteY3" fmla="*/ 63154 h 307260"/>
                <a:gd name="connsiteX4" fmla="*/ 1680649 w 2342423"/>
                <a:gd name="connsiteY4" fmla="*/ 272377 h 307260"/>
                <a:gd name="connsiteX5" fmla="*/ 512224 w 2342423"/>
                <a:gd name="connsiteY5" fmla="*/ 221577 h 307260"/>
                <a:gd name="connsiteX6" fmla="*/ 0 w 2342423"/>
                <a:gd name="connsiteY6" fmla="*/ 1380 h 307260"/>
                <a:gd name="connsiteX0" fmla="*/ 0 w 2342423"/>
                <a:gd name="connsiteY0" fmla="*/ 1380 h 307260"/>
                <a:gd name="connsiteX1" fmla="*/ 855132 w 2342423"/>
                <a:gd name="connsiteY1" fmla="*/ 90280 h 307260"/>
                <a:gd name="connsiteX2" fmla="*/ 1634088 w 2342423"/>
                <a:gd name="connsiteY2" fmla="*/ 1575 h 307260"/>
                <a:gd name="connsiteX3" fmla="*/ 2342423 w 2342423"/>
                <a:gd name="connsiteY3" fmla="*/ 63154 h 307260"/>
                <a:gd name="connsiteX4" fmla="*/ 1680649 w 2342423"/>
                <a:gd name="connsiteY4" fmla="*/ 272377 h 307260"/>
                <a:gd name="connsiteX5" fmla="*/ 512224 w 2342423"/>
                <a:gd name="connsiteY5" fmla="*/ 221577 h 307260"/>
                <a:gd name="connsiteX6" fmla="*/ 0 w 2342423"/>
                <a:gd name="connsiteY6" fmla="*/ 1380 h 307260"/>
                <a:gd name="connsiteX0" fmla="*/ 0 w 2342423"/>
                <a:gd name="connsiteY0" fmla="*/ 1380 h 307260"/>
                <a:gd name="connsiteX1" fmla="*/ 855132 w 2342423"/>
                <a:gd name="connsiteY1" fmla="*/ 90280 h 307260"/>
                <a:gd name="connsiteX2" fmla="*/ 1634088 w 2342423"/>
                <a:gd name="connsiteY2" fmla="*/ 1575 h 307260"/>
                <a:gd name="connsiteX3" fmla="*/ 2342423 w 2342423"/>
                <a:gd name="connsiteY3" fmla="*/ 63154 h 307260"/>
                <a:gd name="connsiteX4" fmla="*/ 1680649 w 2342423"/>
                <a:gd name="connsiteY4" fmla="*/ 272377 h 307260"/>
                <a:gd name="connsiteX5" fmla="*/ 512224 w 2342423"/>
                <a:gd name="connsiteY5" fmla="*/ 221577 h 307260"/>
                <a:gd name="connsiteX6" fmla="*/ 0 w 2342423"/>
                <a:gd name="connsiteY6" fmla="*/ 1380 h 307260"/>
                <a:gd name="connsiteX0" fmla="*/ 35529 w 1865728"/>
                <a:gd name="connsiteY0" fmla="*/ 221577 h 307260"/>
                <a:gd name="connsiteX1" fmla="*/ 378437 w 1865728"/>
                <a:gd name="connsiteY1" fmla="*/ 90280 h 307260"/>
                <a:gd name="connsiteX2" fmla="*/ 1157393 w 1865728"/>
                <a:gd name="connsiteY2" fmla="*/ 1575 h 307260"/>
                <a:gd name="connsiteX3" fmla="*/ 1865728 w 1865728"/>
                <a:gd name="connsiteY3" fmla="*/ 63154 h 307260"/>
                <a:gd name="connsiteX4" fmla="*/ 1203954 w 1865728"/>
                <a:gd name="connsiteY4" fmla="*/ 272377 h 307260"/>
                <a:gd name="connsiteX5" fmla="*/ 35529 w 1865728"/>
                <a:gd name="connsiteY5" fmla="*/ 221577 h 307260"/>
                <a:gd name="connsiteX0" fmla="*/ 28760 w 1858959"/>
                <a:gd name="connsiteY0" fmla="*/ 221553 h 307236"/>
                <a:gd name="connsiteX1" fmla="*/ 468855 w 1858959"/>
                <a:gd name="connsiteY1" fmla="*/ 92097 h 307236"/>
                <a:gd name="connsiteX2" fmla="*/ 1150624 w 1858959"/>
                <a:gd name="connsiteY2" fmla="*/ 1551 h 307236"/>
                <a:gd name="connsiteX3" fmla="*/ 1858959 w 1858959"/>
                <a:gd name="connsiteY3" fmla="*/ 63130 h 307236"/>
                <a:gd name="connsiteX4" fmla="*/ 1197185 w 1858959"/>
                <a:gd name="connsiteY4" fmla="*/ 272353 h 307236"/>
                <a:gd name="connsiteX5" fmla="*/ 28760 w 1858959"/>
                <a:gd name="connsiteY5" fmla="*/ 221553 h 307236"/>
                <a:gd name="connsiteX0" fmla="*/ 0 w 1830199"/>
                <a:gd name="connsiteY0" fmla="*/ 221553 h 307236"/>
                <a:gd name="connsiteX1" fmla="*/ 440095 w 1830199"/>
                <a:gd name="connsiteY1" fmla="*/ 92097 h 307236"/>
                <a:gd name="connsiteX2" fmla="*/ 1121864 w 1830199"/>
                <a:gd name="connsiteY2" fmla="*/ 1551 h 307236"/>
                <a:gd name="connsiteX3" fmla="*/ 1830199 w 1830199"/>
                <a:gd name="connsiteY3" fmla="*/ 63130 h 307236"/>
                <a:gd name="connsiteX4" fmla="*/ 1168425 w 1830199"/>
                <a:gd name="connsiteY4" fmla="*/ 272353 h 307236"/>
                <a:gd name="connsiteX5" fmla="*/ 0 w 1830199"/>
                <a:gd name="connsiteY5" fmla="*/ 221553 h 307236"/>
                <a:gd name="connsiteX0" fmla="*/ 0 w 1830199"/>
                <a:gd name="connsiteY0" fmla="*/ 221715 h 307398"/>
                <a:gd name="connsiteX1" fmla="*/ 550923 w 1830199"/>
                <a:gd name="connsiteY1" fmla="*/ 81212 h 307398"/>
                <a:gd name="connsiteX2" fmla="*/ 1121864 w 1830199"/>
                <a:gd name="connsiteY2" fmla="*/ 1713 h 307398"/>
                <a:gd name="connsiteX3" fmla="*/ 1830199 w 1830199"/>
                <a:gd name="connsiteY3" fmla="*/ 63292 h 307398"/>
                <a:gd name="connsiteX4" fmla="*/ 1168425 w 1830199"/>
                <a:gd name="connsiteY4" fmla="*/ 272515 h 307398"/>
                <a:gd name="connsiteX5" fmla="*/ 0 w 1830199"/>
                <a:gd name="connsiteY5" fmla="*/ 221715 h 307398"/>
                <a:gd name="connsiteX0" fmla="*/ 0 w 1830199"/>
                <a:gd name="connsiteY0" fmla="*/ 221908 h 307591"/>
                <a:gd name="connsiteX1" fmla="*/ 550923 w 1830199"/>
                <a:gd name="connsiteY1" fmla="*/ 81405 h 307591"/>
                <a:gd name="connsiteX2" fmla="*/ 1121864 w 1830199"/>
                <a:gd name="connsiteY2" fmla="*/ 1906 h 307591"/>
                <a:gd name="connsiteX3" fmla="*/ 1830199 w 1830199"/>
                <a:gd name="connsiteY3" fmla="*/ 63485 h 307591"/>
                <a:gd name="connsiteX4" fmla="*/ 1168425 w 1830199"/>
                <a:gd name="connsiteY4" fmla="*/ 272708 h 307591"/>
                <a:gd name="connsiteX5" fmla="*/ 0 w 1830199"/>
                <a:gd name="connsiteY5" fmla="*/ 221908 h 307591"/>
                <a:gd name="connsiteX0" fmla="*/ 0 w 1830199"/>
                <a:gd name="connsiteY0" fmla="*/ 214705 h 300388"/>
                <a:gd name="connsiteX1" fmla="*/ 550923 w 1830199"/>
                <a:gd name="connsiteY1" fmla="*/ 74202 h 300388"/>
                <a:gd name="connsiteX2" fmla="*/ 1092879 w 1830199"/>
                <a:gd name="connsiteY2" fmla="*/ 2067 h 300388"/>
                <a:gd name="connsiteX3" fmla="*/ 1830199 w 1830199"/>
                <a:gd name="connsiteY3" fmla="*/ 56282 h 300388"/>
                <a:gd name="connsiteX4" fmla="*/ 1168425 w 1830199"/>
                <a:gd name="connsiteY4" fmla="*/ 265505 h 300388"/>
                <a:gd name="connsiteX5" fmla="*/ 0 w 1830199"/>
                <a:gd name="connsiteY5" fmla="*/ 214705 h 300388"/>
                <a:gd name="connsiteX0" fmla="*/ 0 w 1507947"/>
                <a:gd name="connsiteY0" fmla="*/ 247846 h 316314"/>
                <a:gd name="connsiteX1" fmla="*/ 228671 w 1507947"/>
                <a:gd name="connsiteY1" fmla="*/ 74202 h 316314"/>
                <a:gd name="connsiteX2" fmla="*/ 770627 w 1507947"/>
                <a:gd name="connsiteY2" fmla="*/ 2067 h 316314"/>
                <a:gd name="connsiteX3" fmla="*/ 1507947 w 1507947"/>
                <a:gd name="connsiteY3" fmla="*/ 56282 h 316314"/>
                <a:gd name="connsiteX4" fmla="*/ 846173 w 1507947"/>
                <a:gd name="connsiteY4" fmla="*/ 265505 h 316314"/>
                <a:gd name="connsiteX5" fmla="*/ 0 w 1507947"/>
                <a:gd name="connsiteY5" fmla="*/ 247846 h 316314"/>
                <a:gd name="connsiteX0" fmla="*/ 0 w 1507947"/>
                <a:gd name="connsiteY0" fmla="*/ 247846 h 316314"/>
                <a:gd name="connsiteX1" fmla="*/ 228671 w 1507947"/>
                <a:gd name="connsiteY1" fmla="*/ 74202 h 316314"/>
                <a:gd name="connsiteX2" fmla="*/ 770627 w 1507947"/>
                <a:gd name="connsiteY2" fmla="*/ 2067 h 316314"/>
                <a:gd name="connsiteX3" fmla="*/ 1507947 w 1507947"/>
                <a:gd name="connsiteY3" fmla="*/ 56282 h 316314"/>
                <a:gd name="connsiteX4" fmla="*/ 846173 w 1507947"/>
                <a:gd name="connsiteY4" fmla="*/ 265505 h 316314"/>
                <a:gd name="connsiteX5" fmla="*/ 0 w 1507947"/>
                <a:gd name="connsiteY5" fmla="*/ 247846 h 316314"/>
                <a:gd name="connsiteX0" fmla="*/ 0 w 1337443"/>
                <a:gd name="connsiteY0" fmla="*/ 288351 h 342092"/>
                <a:gd name="connsiteX1" fmla="*/ 58167 w 1337443"/>
                <a:gd name="connsiteY1" fmla="*/ 74202 h 342092"/>
                <a:gd name="connsiteX2" fmla="*/ 600123 w 1337443"/>
                <a:gd name="connsiteY2" fmla="*/ 2067 h 342092"/>
                <a:gd name="connsiteX3" fmla="*/ 1337443 w 1337443"/>
                <a:gd name="connsiteY3" fmla="*/ 56282 h 342092"/>
                <a:gd name="connsiteX4" fmla="*/ 675669 w 1337443"/>
                <a:gd name="connsiteY4" fmla="*/ 265505 h 342092"/>
                <a:gd name="connsiteX5" fmla="*/ 0 w 1337443"/>
                <a:gd name="connsiteY5" fmla="*/ 288351 h 342092"/>
                <a:gd name="connsiteX0" fmla="*/ 0 w 1337443"/>
                <a:gd name="connsiteY0" fmla="*/ 291216 h 344957"/>
                <a:gd name="connsiteX1" fmla="*/ 341203 w 1337443"/>
                <a:gd name="connsiteY1" fmla="*/ 25515 h 344957"/>
                <a:gd name="connsiteX2" fmla="*/ 600123 w 1337443"/>
                <a:gd name="connsiteY2" fmla="*/ 4932 h 344957"/>
                <a:gd name="connsiteX3" fmla="*/ 1337443 w 1337443"/>
                <a:gd name="connsiteY3" fmla="*/ 59147 h 344957"/>
                <a:gd name="connsiteX4" fmla="*/ 675669 w 1337443"/>
                <a:gd name="connsiteY4" fmla="*/ 268370 h 344957"/>
                <a:gd name="connsiteX5" fmla="*/ 0 w 1337443"/>
                <a:gd name="connsiteY5" fmla="*/ 291216 h 344957"/>
                <a:gd name="connsiteX0" fmla="*/ 0 w 1337443"/>
                <a:gd name="connsiteY0" fmla="*/ 291216 h 307911"/>
                <a:gd name="connsiteX1" fmla="*/ 341203 w 1337443"/>
                <a:gd name="connsiteY1" fmla="*/ 25515 h 307911"/>
                <a:gd name="connsiteX2" fmla="*/ 600123 w 1337443"/>
                <a:gd name="connsiteY2" fmla="*/ 4932 h 307911"/>
                <a:gd name="connsiteX3" fmla="*/ 1337443 w 1337443"/>
                <a:gd name="connsiteY3" fmla="*/ 59147 h 307911"/>
                <a:gd name="connsiteX4" fmla="*/ 675669 w 1337443"/>
                <a:gd name="connsiteY4" fmla="*/ 268370 h 307911"/>
                <a:gd name="connsiteX5" fmla="*/ 0 w 1337443"/>
                <a:gd name="connsiteY5" fmla="*/ 291216 h 307911"/>
                <a:gd name="connsiteX0" fmla="*/ 0 w 1337443"/>
                <a:gd name="connsiteY0" fmla="*/ 291216 h 301130"/>
                <a:gd name="connsiteX1" fmla="*/ 341203 w 1337443"/>
                <a:gd name="connsiteY1" fmla="*/ 25515 h 301130"/>
                <a:gd name="connsiteX2" fmla="*/ 600123 w 1337443"/>
                <a:gd name="connsiteY2" fmla="*/ 4932 h 301130"/>
                <a:gd name="connsiteX3" fmla="*/ 1337443 w 1337443"/>
                <a:gd name="connsiteY3" fmla="*/ 59147 h 301130"/>
                <a:gd name="connsiteX4" fmla="*/ 675669 w 1337443"/>
                <a:gd name="connsiteY4" fmla="*/ 268370 h 301130"/>
                <a:gd name="connsiteX5" fmla="*/ 0 w 1337443"/>
                <a:gd name="connsiteY5" fmla="*/ 291216 h 301130"/>
                <a:gd name="connsiteX0" fmla="*/ 0 w 1337443"/>
                <a:gd name="connsiteY0" fmla="*/ 291007 h 300921"/>
                <a:gd name="connsiteX1" fmla="*/ 341203 w 1337443"/>
                <a:gd name="connsiteY1" fmla="*/ 25306 h 300921"/>
                <a:gd name="connsiteX2" fmla="*/ 600123 w 1337443"/>
                <a:gd name="connsiteY2" fmla="*/ 4723 h 300921"/>
                <a:gd name="connsiteX3" fmla="*/ 1337443 w 1337443"/>
                <a:gd name="connsiteY3" fmla="*/ 58938 h 300921"/>
                <a:gd name="connsiteX4" fmla="*/ 675669 w 1337443"/>
                <a:gd name="connsiteY4" fmla="*/ 268161 h 300921"/>
                <a:gd name="connsiteX5" fmla="*/ 0 w 1337443"/>
                <a:gd name="connsiteY5" fmla="*/ 291007 h 300921"/>
                <a:gd name="connsiteX0" fmla="*/ 0 w 1337443"/>
                <a:gd name="connsiteY0" fmla="*/ 302724 h 312638"/>
                <a:gd name="connsiteX1" fmla="*/ 341203 w 1337443"/>
                <a:gd name="connsiteY1" fmla="*/ 37023 h 312638"/>
                <a:gd name="connsiteX2" fmla="*/ 666619 w 1337443"/>
                <a:gd name="connsiteY2" fmla="*/ 3552 h 312638"/>
                <a:gd name="connsiteX3" fmla="*/ 1337443 w 1337443"/>
                <a:gd name="connsiteY3" fmla="*/ 70655 h 312638"/>
                <a:gd name="connsiteX4" fmla="*/ 675669 w 1337443"/>
                <a:gd name="connsiteY4" fmla="*/ 279878 h 312638"/>
                <a:gd name="connsiteX5" fmla="*/ 0 w 1337443"/>
                <a:gd name="connsiteY5" fmla="*/ 302724 h 312638"/>
                <a:gd name="connsiteX0" fmla="*/ 0 w 1337443"/>
                <a:gd name="connsiteY0" fmla="*/ 302724 h 312638"/>
                <a:gd name="connsiteX1" fmla="*/ 341203 w 1337443"/>
                <a:gd name="connsiteY1" fmla="*/ 37023 h 312638"/>
                <a:gd name="connsiteX2" fmla="*/ 666619 w 1337443"/>
                <a:gd name="connsiteY2" fmla="*/ 3552 h 312638"/>
                <a:gd name="connsiteX3" fmla="*/ 1337443 w 1337443"/>
                <a:gd name="connsiteY3" fmla="*/ 70655 h 312638"/>
                <a:gd name="connsiteX4" fmla="*/ 675669 w 1337443"/>
                <a:gd name="connsiteY4" fmla="*/ 279878 h 312638"/>
                <a:gd name="connsiteX5" fmla="*/ 0 w 1337443"/>
                <a:gd name="connsiteY5" fmla="*/ 302724 h 312638"/>
                <a:gd name="connsiteX0" fmla="*/ 0 w 1337443"/>
                <a:gd name="connsiteY0" fmla="*/ 303423 h 313337"/>
                <a:gd name="connsiteX1" fmla="*/ 341203 w 1337443"/>
                <a:gd name="connsiteY1" fmla="*/ 37722 h 313337"/>
                <a:gd name="connsiteX2" fmla="*/ 666619 w 1337443"/>
                <a:gd name="connsiteY2" fmla="*/ 4251 h 313337"/>
                <a:gd name="connsiteX3" fmla="*/ 1337443 w 1337443"/>
                <a:gd name="connsiteY3" fmla="*/ 71354 h 313337"/>
                <a:gd name="connsiteX4" fmla="*/ 675669 w 1337443"/>
                <a:gd name="connsiteY4" fmla="*/ 280577 h 313337"/>
                <a:gd name="connsiteX5" fmla="*/ 0 w 1337443"/>
                <a:gd name="connsiteY5" fmla="*/ 303423 h 313337"/>
                <a:gd name="connsiteX0" fmla="*/ 0 w 1337443"/>
                <a:gd name="connsiteY0" fmla="*/ 303423 h 313337"/>
                <a:gd name="connsiteX1" fmla="*/ 341203 w 1337443"/>
                <a:gd name="connsiteY1" fmla="*/ 37722 h 313337"/>
                <a:gd name="connsiteX2" fmla="*/ 666619 w 1337443"/>
                <a:gd name="connsiteY2" fmla="*/ 4251 h 313337"/>
                <a:gd name="connsiteX3" fmla="*/ 1337443 w 1337443"/>
                <a:gd name="connsiteY3" fmla="*/ 71354 h 313337"/>
                <a:gd name="connsiteX4" fmla="*/ 675669 w 1337443"/>
                <a:gd name="connsiteY4" fmla="*/ 280577 h 313337"/>
                <a:gd name="connsiteX5" fmla="*/ 0 w 1337443"/>
                <a:gd name="connsiteY5" fmla="*/ 303423 h 313337"/>
                <a:gd name="connsiteX0" fmla="*/ 0 w 1337443"/>
                <a:gd name="connsiteY0" fmla="*/ 303423 h 313337"/>
                <a:gd name="connsiteX1" fmla="*/ 341203 w 1337443"/>
                <a:gd name="connsiteY1" fmla="*/ 37722 h 313337"/>
                <a:gd name="connsiteX2" fmla="*/ 666619 w 1337443"/>
                <a:gd name="connsiteY2" fmla="*/ 4251 h 313337"/>
                <a:gd name="connsiteX3" fmla="*/ 1337443 w 1337443"/>
                <a:gd name="connsiteY3" fmla="*/ 71354 h 313337"/>
                <a:gd name="connsiteX4" fmla="*/ 675669 w 1337443"/>
                <a:gd name="connsiteY4" fmla="*/ 280577 h 313337"/>
                <a:gd name="connsiteX5" fmla="*/ 0 w 1337443"/>
                <a:gd name="connsiteY5" fmla="*/ 303423 h 313337"/>
                <a:gd name="connsiteX0" fmla="*/ 0 w 1337443"/>
                <a:gd name="connsiteY0" fmla="*/ 303423 h 311038"/>
                <a:gd name="connsiteX1" fmla="*/ 341203 w 1337443"/>
                <a:gd name="connsiteY1" fmla="*/ 37722 h 311038"/>
                <a:gd name="connsiteX2" fmla="*/ 666619 w 1337443"/>
                <a:gd name="connsiteY2" fmla="*/ 4251 h 311038"/>
                <a:gd name="connsiteX3" fmla="*/ 1337443 w 1337443"/>
                <a:gd name="connsiteY3" fmla="*/ 71354 h 311038"/>
                <a:gd name="connsiteX4" fmla="*/ 673944 w 1337443"/>
                <a:gd name="connsiteY4" fmla="*/ 275183 h 311038"/>
                <a:gd name="connsiteX5" fmla="*/ 0 w 1337443"/>
                <a:gd name="connsiteY5" fmla="*/ 303423 h 311038"/>
                <a:gd name="connsiteX0" fmla="*/ 0 w 1388401"/>
                <a:gd name="connsiteY0" fmla="*/ 303423 h 311038"/>
                <a:gd name="connsiteX1" fmla="*/ 341203 w 1388401"/>
                <a:gd name="connsiteY1" fmla="*/ 37722 h 311038"/>
                <a:gd name="connsiteX2" fmla="*/ 666619 w 1388401"/>
                <a:gd name="connsiteY2" fmla="*/ 4251 h 311038"/>
                <a:gd name="connsiteX3" fmla="*/ 1388401 w 1388401"/>
                <a:gd name="connsiteY3" fmla="*/ 99361 h 311038"/>
                <a:gd name="connsiteX4" fmla="*/ 673944 w 1388401"/>
                <a:gd name="connsiteY4" fmla="*/ 275183 h 311038"/>
                <a:gd name="connsiteX5" fmla="*/ 0 w 1388401"/>
                <a:gd name="connsiteY5" fmla="*/ 303423 h 311038"/>
                <a:gd name="connsiteX0" fmla="*/ 0 w 1388401"/>
                <a:gd name="connsiteY0" fmla="*/ 301050 h 308665"/>
                <a:gd name="connsiteX1" fmla="*/ 331648 w 1388401"/>
                <a:gd name="connsiteY1" fmla="*/ 90030 h 308665"/>
                <a:gd name="connsiteX2" fmla="*/ 666619 w 1388401"/>
                <a:gd name="connsiteY2" fmla="*/ 1878 h 308665"/>
                <a:gd name="connsiteX3" fmla="*/ 1388401 w 1388401"/>
                <a:gd name="connsiteY3" fmla="*/ 96988 h 308665"/>
                <a:gd name="connsiteX4" fmla="*/ 673944 w 1388401"/>
                <a:gd name="connsiteY4" fmla="*/ 272810 h 308665"/>
                <a:gd name="connsiteX5" fmla="*/ 0 w 1388401"/>
                <a:gd name="connsiteY5" fmla="*/ 301050 h 308665"/>
                <a:gd name="connsiteX0" fmla="*/ 0 w 1388401"/>
                <a:gd name="connsiteY0" fmla="*/ 301050 h 307862"/>
                <a:gd name="connsiteX1" fmla="*/ 331648 w 1388401"/>
                <a:gd name="connsiteY1" fmla="*/ 90030 h 307862"/>
                <a:gd name="connsiteX2" fmla="*/ 666619 w 1388401"/>
                <a:gd name="connsiteY2" fmla="*/ 1878 h 307862"/>
                <a:gd name="connsiteX3" fmla="*/ 1388401 w 1388401"/>
                <a:gd name="connsiteY3" fmla="*/ 96988 h 307862"/>
                <a:gd name="connsiteX4" fmla="*/ 673944 w 1388401"/>
                <a:gd name="connsiteY4" fmla="*/ 272810 h 307862"/>
                <a:gd name="connsiteX5" fmla="*/ 0 w 1388401"/>
                <a:gd name="connsiteY5" fmla="*/ 301050 h 307862"/>
                <a:gd name="connsiteX0" fmla="*/ 0 w 1388401"/>
                <a:gd name="connsiteY0" fmla="*/ 301050 h 304467"/>
                <a:gd name="connsiteX1" fmla="*/ 331648 w 1388401"/>
                <a:gd name="connsiteY1" fmla="*/ 90030 h 304467"/>
                <a:gd name="connsiteX2" fmla="*/ 666619 w 1388401"/>
                <a:gd name="connsiteY2" fmla="*/ 1878 h 304467"/>
                <a:gd name="connsiteX3" fmla="*/ 1388401 w 1388401"/>
                <a:gd name="connsiteY3" fmla="*/ 96988 h 304467"/>
                <a:gd name="connsiteX4" fmla="*/ 673944 w 1388401"/>
                <a:gd name="connsiteY4" fmla="*/ 272810 h 304467"/>
                <a:gd name="connsiteX5" fmla="*/ 0 w 1388401"/>
                <a:gd name="connsiteY5" fmla="*/ 301050 h 304467"/>
                <a:gd name="connsiteX0" fmla="*/ 0 w 1388401"/>
                <a:gd name="connsiteY0" fmla="*/ 301050 h 304467"/>
                <a:gd name="connsiteX1" fmla="*/ 331648 w 1388401"/>
                <a:gd name="connsiteY1" fmla="*/ 90030 h 304467"/>
                <a:gd name="connsiteX2" fmla="*/ 666619 w 1388401"/>
                <a:gd name="connsiteY2" fmla="*/ 1878 h 304467"/>
                <a:gd name="connsiteX3" fmla="*/ 1388401 w 1388401"/>
                <a:gd name="connsiteY3" fmla="*/ 96988 h 304467"/>
                <a:gd name="connsiteX4" fmla="*/ 673944 w 1388401"/>
                <a:gd name="connsiteY4" fmla="*/ 272810 h 304467"/>
                <a:gd name="connsiteX5" fmla="*/ 0 w 1388401"/>
                <a:gd name="connsiteY5" fmla="*/ 301050 h 304467"/>
                <a:gd name="connsiteX0" fmla="*/ 0 w 1388401"/>
                <a:gd name="connsiteY0" fmla="*/ 301050 h 304467"/>
                <a:gd name="connsiteX1" fmla="*/ 331648 w 1388401"/>
                <a:gd name="connsiteY1" fmla="*/ 90030 h 304467"/>
                <a:gd name="connsiteX2" fmla="*/ 666619 w 1388401"/>
                <a:gd name="connsiteY2" fmla="*/ 1878 h 304467"/>
                <a:gd name="connsiteX3" fmla="*/ 1388401 w 1388401"/>
                <a:gd name="connsiteY3" fmla="*/ 96988 h 304467"/>
                <a:gd name="connsiteX4" fmla="*/ 673944 w 1388401"/>
                <a:gd name="connsiteY4" fmla="*/ 272810 h 304467"/>
                <a:gd name="connsiteX5" fmla="*/ 0 w 1388401"/>
                <a:gd name="connsiteY5" fmla="*/ 301050 h 304467"/>
                <a:gd name="connsiteX0" fmla="*/ 0 w 1388401"/>
                <a:gd name="connsiteY0" fmla="*/ 301050 h 304467"/>
                <a:gd name="connsiteX1" fmla="*/ 331648 w 1388401"/>
                <a:gd name="connsiteY1" fmla="*/ 90030 h 304467"/>
                <a:gd name="connsiteX2" fmla="*/ 666619 w 1388401"/>
                <a:gd name="connsiteY2" fmla="*/ 1878 h 304467"/>
                <a:gd name="connsiteX3" fmla="*/ 1388401 w 1388401"/>
                <a:gd name="connsiteY3" fmla="*/ 96988 h 304467"/>
                <a:gd name="connsiteX4" fmla="*/ 673944 w 1388401"/>
                <a:gd name="connsiteY4" fmla="*/ 272810 h 304467"/>
                <a:gd name="connsiteX5" fmla="*/ 0 w 1388401"/>
                <a:gd name="connsiteY5" fmla="*/ 301050 h 304467"/>
                <a:gd name="connsiteX0" fmla="*/ 0 w 1388401"/>
                <a:gd name="connsiteY0" fmla="*/ 307192 h 310609"/>
                <a:gd name="connsiteX1" fmla="*/ 331648 w 1388401"/>
                <a:gd name="connsiteY1" fmla="*/ 96172 h 310609"/>
                <a:gd name="connsiteX2" fmla="*/ 665125 w 1388401"/>
                <a:gd name="connsiteY2" fmla="*/ 1763 h 310609"/>
                <a:gd name="connsiteX3" fmla="*/ 1388401 w 1388401"/>
                <a:gd name="connsiteY3" fmla="*/ 103130 h 310609"/>
                <a:gd name="connsiteX4" fmla="*/ 673944 w 1388401"/>
                <a:gd name="connsiteY4" fmla="*/ 278952 h 310609"/>
                <a:gd name="connsiteX5" fmla="*/ 0 w 1388401"/>
                <a:gd name="connsiteY5" fmla="*/ 307192 h 310609"/>
                <a:gd name="connsiteX0" fmla="*/ 0 w 1388401"/>
                <a:gd name="connsiteY0" fmla="*/ 305429 h 308846"/>
                <a:gd name="connsiteX1" fmla="*/ 331648 w 1388401"/>
                <a:gd name="connsiteY1" fmla="*/ 94409 h 308846"/>
                <a:gd name="connsiteX2" fmla="*/ 665125 w 1388401"/>
                <a:gd name="connsiteY2" fmla="*/ 0 h 308846"/>
                <a:gd name="connsiteX3" fmla="*/ 1388401 w 1388401"/>
                <a:gd name="connsiteY3" fmla="*/ 101367 h 308846"/>
                <a:gd name="connsiteX4" fmla="*/ 673944 w 1388401"/>
                <a:gd name="connsiteY4" fmla="*/ 277189 h 308846"/>
                <a:gd name="connsiteX5" fmla="*/ 0 w 1388401"/>
                <a:gd name="connsiteY5" fmla="*/ 305429 h 308846"/>
                <a:gd name="connsiteX0" fmla="*/ 0 w 1379436"/>
                <a:gd name="connsiteY0" fmla="*/ 305429 h 308846"/>
                <a:gd name="connsiteX1" fmla="*/ 331648 w 1379436"/>
                <a:gd name="connsiteY1" fmla="*/ 94409 h 308846"/>
                <a:gd name="connsiteX2" fmla="*/ 665125 w 1379436"/>
                <a:gd name="connsiteY2" fmla="*/ 0 h 308846"/>
                <a:gd name="connsiteX3" fmla="*/ 1379436 w 1379436"/>
                <a:gd name="connsiteY3" fmla="*/ 106372 h 308846"/>
                <a:gd name="connsiteX4" fmla="*/ 673944 w 1379436"/>
                <a:gd name="connsiteY4" fmla="*/ 277189 h 308846"/>
                <a:gd name="connsiteX5" fmla="*/ 0 w 1379436"/>
                <a:gd name="connsiteY5" fmla="*/ 305429 h 308846"/>
                <a:gd name="connsiteX0" fmla="*/ 0 w 1379436"/>
                <a:gd name="connsiteY0" fmla="*/ 305429 h 308846"/>
                <a:gd name="connsiteX1" fmla="*/ 331648 w 1379436"/>
                <a:gd name="connsiteY1" fmla="*/ 94409 h 308846"/>
                <a:gd name="connsiteX2" fmla="*/ 665125 w 1379436"/>
                <a:gd name="connsiteY2" fmla="*/ 0 h 308846"/>
                <a:gd name="connsiteX3" fmla="*/ 1379436 w 1379436"/>
                <a:gd name="connsiteY3" fmla="*/ 106372 h 308846"/>
                <a:gd name="connsiteX4" fmla="*/ 673944 w 1379436"/>
                <a:gd name="connsiteY4" fmla="*/ 277189 h 308846"/>
                <a:gd name="connsiteX5" fmla="*/ 0 w 1379436"/>
                <a:gd name="connsiteY5" fmla="*/ 305429 h 308846"/>
                <a:gd name="connsiteX0" fmla="*/ 0 w 1346563"/>
                <a:gd name="connsiteY0" fmla="*/ 305429 h 308846"/>
                <a:gd name="connsiteX1" fmla="*/ 331648 w 1346563"/>
                <a:gd name="connsiteY1" fmla="*/ 94409 h 308846"/>
                <a:gd name="connsiteX2" fmla="*/ 665125 w 1346563"/>
                <a:gd name="connsiteY2" fmla="*/ 0 h 308846"/>
                <a:gd name="connsiteX3" fmla="*/ 1346563 w 1346563"/>
                <a:gd name="connsiteY3" fmla="*/ 122640 h 308846"/>
                <a:gd name="connsiteX4" fmla="*/ 673944 w 1346563"/>
                <a:gd name="connsiteY4" fmla="*/ 277189 h 308846"/>
                <a:gd name="connsiteX5" fmla="*/ 0 w 1346563"/>
                <a:gd name="connsiteY5" fmla="*/ 305429 h 308846"/>
                <a:gd name="connsiteX0" fmla="*/ 0 w 1346563"/>
                <a:gd name="connsiteY0" fmla="*/ 305429 h 308846"/>
                <a:gd name="connsiteX1" fmla="*/ 331648 w 1346563"/>
                <a:gd name="connsiteY1" fmla="*/ 94409 h 308846"/>
                <a:gd name="connsiteX2" fmla="*/ 665125 w 1346563"/>
                <a:gd name="connsiteY2" fmla="*/ 0 h 308846"/>
                <a:gd name="connsiteX3" fmla="*/ 1346563 w 1346563"/>
                <a:gd name="connsiteY3" fmla="*/ 122640 h 308846"/>
                <a:gd name="connsiteX4" fmla="*/ 673944 w 1346563"/>
                <a:gd name="connsiteY4" fmla="*/ 277189 h 308846"/>
                <a:gd name="connsiteX5" fmla="*/ 0 w 1346563"/>
                <a:gd name="connsiteY5" fmla="*/ 305429 h 308846"/>
                <a:gd name="connsiteX0" fmla="*/ 0 w 1346563"/>
                <a:gd name="connsiteY0" fmla="*/ 305429 h 308846"/>
                <a:gd name="connsiteX1" fmla="*/ 331648 w 1346563"/>
                <a:gd name="connsiteY1" fmla="*/ 94409 h 308846"/>
                <a:gd name="connsiteX2" fmla="*/ 650184 w 1346563"/>
                <a:gd name="connsiteY2" fmla="*/ 0 h 308846"/>
                <a:gd name="connsiteX3" fmla="*/ 1346563 w 1346563"/>
                <a:gd name="connsiteY3" fmla="*/ 122640 h 308846"/>
                <a:gd name="connsiteX4" fmla="*/ 673944 w 1346563"/>
                <a:gd name="connsiteY4" fmla="*/ 277189 h 308846"/>
                <a:gd name="connsiteX5" fmla="*/ 0 w 1346563"/>
                <a:gd name="connsiteY5" fmla="*/ 305429 h 308846"/>
                <a:gd name="connsiteX0" fmla="*/ 0 w 1346563"/>
                <a:gd name="connsiteY0" fmla="*/ 305429 h 308846"/>
                <a:gd name="connsiteX1" fmla="*/ 339119 w 1346563"/>
                <a:gd name="connsiteY1" fmla="*/ 91906 h 308846"/>
                <a:gd name="connsiteX2" fmla="*/ 650184 w 1346563"/>
                <a:gd name="connsiteY2" fmla="*/ 0 h 308846"/>
                <a:gd name="connsiteX3" fmla="*/ 1346563 w 1346563"/>
                <a:gd name="connsiteY3" fmla="*/ 122640 h 308846"/>
                <a:gd name="connsiteX4" fmla="*/ 673944 w 1346563"/>
                <a:gd name="connsiteY4" fmla="*/ 277189 h 308846"/>
                <a:gd name="connsiteX5" fmla="*/ 0 w 1346563"/>
                <a:gd name="connsiteY5" fmla="*/ 305429 h 308846"/>
                <a:gd name="connsiteX0" fmla="*/ 0 w 1346563"/>
                <a:gd name="connsiteY0" fmla="*/ 305429 h 305809"/>
                <a:gd name="connsiteX1" fmla="*/ 339119 w 1346563"/>
                <a:gd name="connsiteY1" fmla="*/ 91906 h 305809"/>
                <a:gd name="connsiteX2" fmla="*/ 650184 w 1346563"/>
                <a:gd name="connsiteY2" fmla="*/ 0 h 305809"/>
                <a:gd name="connsiteX3" fmla="*/ 1346563 w 1346563"/>
                <a:gd name="connsiteY3" fmla="*/ 122640 h 305809"/>
                <a:gd name="connsiteX4" fmla="*/ 673944 w 1346563"/>
                <a:gd name="connsiteY4" fmla="*/ 277189 h 305809"/>
                <a:gd name="connsiteX5" fmla="*/ 0 w 1346563"/>
                <a:gd name="connsiteY5" fmla="*/ 305429 h 305809"/>
                <a:gd name="connsiteX0" fmla="*/ 0 w 1346563"/>
                <a:gd name="connsiteY0" fmla="*/ 305429 h 305809"/>
                <a:gd name="connsiteX1" fmla="*/ 339119 w 1346563"/>
                <a:gd name="connsiteY1" fmla="*/ 91906 h 305809"/>
                <a:gd name="connsiteX2" fmla="*/ 650184 w 1346563"/>
                <a:gd name="connsiteY2" fmla="*/ 0 h 305809"/>
                <a:gd name="connsiteX3" fmla="*/ 1346563 w 1346563"/>
                <a:gd name="connsiteY3" fmla="*/ 122640 h 305809"/>
                <a:gd name="connsiteX4" fmla="*/ 673944 w 1346563"/>
                <a:gd name="connsiteY4" fmla="*/ 277189 h 305809"/>
                <a:gd name="connsiteX5" fmla="*/ 0 w 1346563"/>
                <a:gd name="connsiteY5" fmla="*/ 305429 h 305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46563" h="305809">
                  <a:moveTo>
                    <a:pt x="0" y="305429"/>
                  </a:moveTo>
                  <a:cubicBezTo>
                    <a:pt x="230896" y="220990"/>
                    <a:pt x="188881" y="193014"/>
                    <a:pt x="339119" y="91906"/>
                  </a:cubicBezTo>
                  <a:cubicBezTo>
                    <a:pt x="386402" y="73527"/>
                    <a:pt x="435612" y="1997"/>
                    <a:pt x="650184" y="0"/>
                  </a:cubicBezTo>
                  <a:cubicBezTo>
                    <a:pt x="953534" y="11681"/>
                    <a:pt x="1167231" y="59653"/>
                    <a:pt x="1346563" y="122640"/>
                  </a:cubicBezTo>
                  <a:cubicBezTo>
                    <a:pt x="1141231" y="205927"/>
                    <a:pt x="987204" y="237037"/>
                    <a:pt x="673944" y="277189"/>
                  </a:cubicBezTo>
                  <a:cubicBezTo>
                    <a:pt x="323042" y="323206"/>
                    <a:pt x="403457" y="298017"/>
                    <a:pt x="0" y="305429"/>
                  </a:cubicBezTo>
                  <a:close/>
                </a:path>
              </a:pathLst>
            </a:custGeom>
            <a:gradFill flip="none" rotWithShape="1">
              <a:gsLst>
                <a:gs pos="0">
                  <a:srgbClr val="9DC3E6"/>
                </a:gs>
                <a:gs pos="59000">
                  <a:srgbClr val="E6F0FA"/>
                </a:gs>
                <a:gs pos="100000">
                  <a:srgbClr val="9DC3E6"/>
                </a:gs>
              </a:gsLst>
              <a:lin ang="16200000" scaled="1"/>
              <a:tileRect/>
            </a:gradFill>
            <a:ln w="53975" algn="ctr">
              <a:noFill/>
              <a:miter lim="800000"/>
              <a:headEnd/>
              <a:tailEnd/>
            </a:ln>
          </p:spPr>
          <p:txBody>
            <a:bodyPr wrap="none" lIns="36000" tIns="10800" rIns="36000" bIns="10800" rtlCol="0" anchor="ctr"/>
            <a:lstStyle/>
            <a:p>
              <a:pPr marL="185738" indent="-185738" algn="ctr">
                <a:buClr>
                  <a:srgbClr val="969696"/>
                </a:buClr>
                <a:buSzPct val="80000"/>
                <a:defRPr/>
              </a:pPr>
              <a:endParaRPr kumimoji="0" lang="en-US" sz="1400" dirty="0">
                <a:solidFill>
                  <a:prstClr val="black"/>
                </a:solidFill>
                <a:latin typeface="Meiryo UI"/>
                <a:ea typeface="Meiryo UI"/>
              </a:endParaRPr>
            </a:p>
          </p:txBody>
        </p:sp>
        <p:pic>
          <p:nvPicPr>
            <p:cNvPr id="583" name="Picture 582"/>
            <p:cNvPicPr>
              <a:picLocks noChangeAspect="1"/>
            </p:cNvPicPr>
            <p:nvPr/>
          </p:nvPicPr>
          <p:blipFill>
            <a:blip r:embed="rId15"/>
            <a:stretch>
              <a:fillRect/>
            </a:stretch>
          </p:blipFill>
          <p:spPr>
            <a:xfrm flipH="1">
              <a:off x="3473714" y="4629794"/>
              <a:ext cx="448488" cy="362822"/>
            </a:xfrm>
            <a:prstGeom prst="rect">
              <a:avLst/>
            </a:prstGeom>
          </p:spPr>
        </p:pic>
        <p:pic>
          <p:nvPicPr>
            <p:cNvPr id="584" name="Picture 583"/>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flipH="1">
              <a:off x="3961363" y="4578120"/>
              <a:ext cx="180693" cy="147646"/>
            </a:xfrm>
            <a:prstGeom prst="rect">
              <a:avLst/>
            </a:prstGeom>
            <a:noFill/>
            <a:ln>
              <a:noFill/>
            </a:ln>
          </p:spPr>
        </p:pic>
        <p:pic>
          <p:nvPicPr>
            <p:cNvPr id="585" name="Picture 58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4102504" y="4559224"/>
              <a:ext cx="74200" cy="92972"/>
            </a:xfrm>
            <a:prstGeom prst="rect">
              <a:avLst/>
            </a:prstGeom>
          </p:spPr>
        </p:pic>
        <p:pic>
          <p:nvPicPr>
            <p:cNvPr id="586" name="Picture 58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3891205" y="4563480"/>
              <a:ext cx="74200" cy="92972"/>
            </a:xfrm>
            <a:prstGeom prst="rect">
              <a:avLst/>
            </a:prstGeom>
          </p:spPr>
        </p:pic>
        <p:pic>
          <p:nvPicPr>
            <p:cNvPr id="587" name="Picture 58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3992881" y="4720450"/>
              <a:ext cx="74200" cy="92972"/>
            </a:xfrm>
            <a:prstGeom prst="rect">
              <a:avLst/>
            </a:prstGeom>
          </p:spPr>
        </p:pic>
        <p:pic>
          <p:nvPicPr>
            <p:cNvPr id="588" name="Picture 587"/>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rot="814385" flipH="1">
              <a:off x="3301128" y="4627707"/>
              <a:ext cx="128118" cy="97287"/>
            </a:xfrm>
            <a:prstGeom prst="rect">
              <a:avLst/>
            </a:prstGeom>
          </p:spPr>
        </p:pic>
        <p:pic>
          <p:nvPicPr>
            <p:cNvPr id="589" name="Picture 588"/>
            <p:cNvPicPr>
              <a:picLocks noChangeAspect="1"/>
            </p:cNvPicPr>
            <p:nvPr/>
          </p:nvPicPr>
          <p:blipFill>
            <a:blip r:embed="rId17"/>
            <a:stretch>
              <a:fillRect/>
            </a:stretch>
          </p:blipFill>
          <p:spPr>
            <a:xfrm rot="803145">
              <a:off x="3315200" y="3643543"/>
              <a:ext cx="262425" cy="208570"/>
            </a:xfrm>
            <a:prstGeom prst="rect">
              <a:avLst/>
            </a:prstGeom>
          </p:spPr>
        </p:pic>
        <p:pic>
          <p:nvPicPr>
            <p:cNvPr id="590" name="Picture 589"/>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5110834" y="4442915"/>
              <a:ext cx="255538" cy="253461"/>
            </a:xfrm>
            <a:prstGeom prst="rect">
              <a:avLst/>
            </a:prstGeom>
          </p:spPr>
        </p:pic>
        <p:pic>
          <p:nvPicPr>
            <p:cNvPr id="591" name="Picture 590"/>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924395" y="4533620"/>
              <a:ext cx="253373" cy="258200"/>
            </a:xfrm>
            <a:prstGeom prst="rect">
              <a:avLst/>
            </a:prstGeom>
          </p:spPr>
        </p:pic>
        <p:pic>
          <p:nvPicPr>
            <p:cNvPr id="592" name="Picture 591"/>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5311807" y="4328043"/>
              <a:ext cx="194504" cy="258549"/>
            </a:xfrm>
            <a:prstGeom prst="rect">
              <a:avLst/>
            </a:prstGeom>
          </p:spPr>
        </p:pic>
        <p:pic>
          <p:nvPicPr>
            <p:cNvPr id="593" name="Picture 592"/>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724790" y="4985845"/>
              <a:ext cx="121777" cy="89378"/>
            </a:xfrm>
            <a:prstGeom prst="rect">
              <a:avLst/>
            </a:prstGeom>
          </p:spPr>
        </p:pic>
        <p:sp>
          <p:nvSpPr>
            <p:cNvPr id="594" name="Freeform 593"/>
            <p:cNvSpPr/>
            <p:nvPr/>
          </p:nvSpPr>
          <p:spPr>
            <a:xfrm>
              <a:off x="3863045" y="5020949"/>
              <a:ext cx="624056" cy="499076"/>
            </a:xfrm>
            <a:custGeom>
              <a:avLst/>
              <a:gdLst>
                <a:gd name="connsiteX0" fmla="*/ 160867 w 990600"/>
                <a:gd name="connsiteY0" fmla="*/ 93134 h 520700"/>
                <a:gd name="connsiteX1" fmla="*/ 0 w 990600"/>
                <a:gd name="connsiteY1" fmla="*/ 457200 h 520700"/>
                <a:gd name="connsiteX2" fmla="*/ 376767 w 990600"/>
                <a:gd name="connsiteY2" fmla="*/ 520700 h 520700"/>
                <a:gd name="connsiteX3" fmla="*/ 694267 w 990600"/>
                <a:gd name="connsiteY3" fmla="*/ 368300 h 520700"/>
                <a:gd name="connsiteX4" fmla="*/ 990600 w 990600"/>
                <a:gd name="connsiteY4" fmla="*/ 0 h 520700"/>
                <a:gd name="connsiteX5" fmla="*/ 160867 w 990600"/>
                <a:gd name="connsiteY5" fmla="*/ 93134 h 520700"/>
                <a:gd name="connsiteX0" fmla="*/ 258233 w 990600"/>
                <a:gd name="connsiteY0" fmla="*/ 0 h 626533"/>
                <a:gd name="connsiteX1" fmla="*/ 0 w 990600"/>
                <a:gd name="connsiteY1" fmla="*/ 563033 h 626533"/>
                <a:gd name="connsiteX2" fmla="*/ 376767 w 990600"/>
                <a:gd name="connsiteY2" fmla="*/ 626533 h 626533"/>
                <a:gd name="connsiteX3" fmla="*/ 694267 w 990600"/>
                <a:gd name="connsiteY3" fmla="*/ 474133 h 626533"/>
                <a:gd name="connsiteX4" fmla="*/ 990600 w 990600"/>
                <a:gd name="connsiteY4" fmla="*/ 105833 h 626533"/>
                <a:gd name="connsiteX5" fmla="*/ 258233 w 990600"/>
                <a:gd name="connsiteY5" fmla="*/ 0 h 626533"/>
                <a:gd name="connsiteX0" fmla="*/ 258233 w 1002977"/>
                <a:gd name="connsiteY0" fmla="*/ 0 h 626533"/>
                <a:gd name="connsiteX1" fmla="*/ 0 w 1002977"/>
                <a:gd name="connsiteY1" fmla="*/ 563033 h 626533"/>
                <a:gd name="connsiteX2" fmla="*/ 376767 w 1002977"/>
                <a:gd name="connsiteY2" fmla="*/ 626533 h 626533"/>
                <a:gd name="connsiteX3" fmla="*/ 694267 w 1002977"/>
                <a:gd name="connsiteY3" fmla="*/ 474133 h 626533"/>
                <a:gd name="connsiteX4" fmla="*/ 990600 w 1002977"/>
                <a:gd name="connsiteY4" fmla="*/ 105833 h 626533"/>
                <a:gd name="connsiteX5" fmla="*/ 258233 w 1002977"/>
                <a:gd name="connsiteY5" fmla="*/ 0 h 626533"/>
                <a:gd name="connsiteX0" fmla="*/ 258233 w 1001943"/>
                <a:gd name="connsiteY0" fmla="*/ 0 h 626533"/>
                <a:gd name="connsiteX1" fmla="*/ 0 w 1001943"/>
                <a:gd name="connsiteY1" fmla="*/ 563033 h 626533"/>
                <a:gd name="connsiteX2" fmla="*/ 376767 w 1001943"/>
                <a:gd name="connsiteY2" fmla="*/ 626533 h 626533"/>
                <a:gd name="connsiteX3" fmla="*/ 664634 w 1001943"/>
                <a:gd name="connsiteY3" fmla="*/ 469900 h 626533"/>
                <a:gd name="connsiteX4" fmla="*/ 990600 w 1001943"/>
                <a:gd name="connsiteY4" fmla="*/ 105833 h 626533"/>
                <a:gd name="connsiteX5" fmla="*/ 258233 w 1001943"/>
                <a:gd name="connsiteY5" fmla="*/ 0 h 626533"/>
                <a:gd name="connsiteX0" fmla="*/ 258233 w 990600"/>
                <a:gd name="connsiteY0" fmla="*/ 0 h 626533"/>
                <a:gd name="connsiteX1" fmla="*/ 0 w 990600"/>
                <a:gd name="connsiteY1" fmla="*/ 563033 h 626533"/>
                <a:gd name="connsiteX2" fmla="*/ 376767 w 990600"/>
                <a:gd name="connsiteY2" fmla="*/ 626533 h 626533"/>
                <a:gd name="connsiteX3" fmla="*/ 664634 w 990600"/>
                <a:gd name="connsiteY3" fmla="*/ 469900 h 626533"/>
                <a:gd name="connsiteX4" fmla="*/ 990600 w 990600"/>
                <a:gd name="connsiteY4" fmla="*/ 105833 h 626533"/>
                <a:gd name="connsiteX5" fmla="*/ 258233 w 990600"/>
                <a:gd name="connsiteY5" fmla="*/ 0 h 626533"/>
                <a:gd name="connsiteX0" fmla="*/ 258233 w 990600"/>
                <a:gd name="connsiteY0" fmla="*/ 0 h 613833"/>
                <a:gd name="connsiteX1" fmla="*/ 0 w 990600"/>
                <a:gd name="connsiteY1" fmla="*/ 563033 h 613833"/>
                <a:gd name="connsiteX2" fmla="*/ 397933 w 990600"/>
                <a:gd name="connsiteY2" fmla="*/ 613833 h 613833"/>
                <a:gd name="connsiteX3" fmla="*/ 664634 w 990600"/>
                <a:gd name="connsiteY3" fmla="*/ 469900 h 613833"/>
                <a:gd name="connsiteX4" fmla="*/ 990600 w 990600"/>
                <a:gd name="connsiteY4" fmla="*/ 105833 h 613833"/>
                <a:gd name="connsiteX5" fmla="*/ 258233 w 990600"/>
                <a:gd name="connsiteY5" fmla="*/ 0 h 613833"/>
                <a:gd name="connsiteX0" fmla="*/ 258233 w 990600"/>
                <a:gd name="connsiteY0" fmla="*/ 0 h 592666"/>
                <a:gd name="connsiteX1" fmla="*/ 0 w 990600"/>
                <a:gd name="connsiteY1" fmla="*/ 563033 h 592666"/>
                <a:gd name="connsiteX2" fmla="*/ 402166 w 990600"/>
                <a:gd name="connsiteY2" fmla="*/ 592666 h 592666"/>
                <a:gd name="connsiteX3" fmla="*/ 664634 w 990600"/>
                <a:gd name="connsiteY3" fmla="*/ 469900 h 592666"/>
                <a:gd name="connsiteX4" fmla="*/ 990600 w 990600"/>
                <a:gd name="connsiteY4" fmla="*/ 105833 h 592666"/>
                <a:gd name="connsiteX5" fmla="*/ 258233 w 990600"/>
                <a:gd name="connsiteY5" fmla="*/ 0 h 592666"/>
                <a:gd name="connsiteX0" fmla="*/ 258233 w 990600"/>
                <a:gd name="connsiteY0" fmla="*/ 0 h 598121"/>
                <a:gd name="connsiteX1" fmla="*/ 0 w 990600"/>
                <a:gd name="connsiteY1" fmla="*/ 563033 h 598121"/>
                <a:gd name="connsiteX2" fmla="*/ 402166 w 990600"/>
                <a:gd name="connsiteY2" fmla="*/ 592666 h 598121"/>
                <a:gd name="connsiteX3" fmla="*/ 664634 w 990600"/>
                <a:gd name="connsiteY3" fmla="*/ 469900 h 598121"/>
                <a:gd name="connsiteX4" fmla="*/ 990600 w 990600"/>
                <a:gd name="connsiteY4" fmla="*/ 105833 h 598121"/>
                <a:gd name="connsiteX5" fmla="*/ 258233 w 990600"/>
                <a:gd name="connsiteY5" fmla="*/ 0 h 598121"/>
                <a:gd name="connsiteX0" fmla="*/ 258233 w 952500"/>
                <a:gd name="connsiteY0" fmla="*/ 0 h 598121"/>
                <a:gd name="connsiteX1" fmla="*/ 0 w 952500"/>
                <a:gd name="connsiteY1" fmla="*/ 563033 h 598121"/>
                <a:gd name="connsiteX2" fmla="*/ 402166 w 952500"/>
                <a:gd name="connsiteY2" fmla="*/ 592666 h 598121"/>
                <a:gd name="connsiteX3" fmla="*/ 664634 w 952500"/>
                <a:gd name="connsiteY3" fmla="*/ 469900 h 598121"/>
                <a:gd name="connsiteX4" fmla="*/ 952500 w 952500"/>
                <a:gd name="connsiteY4" fmla="*/ 105833 h 598121"/>
                <a:gd name="connsiteX5" fmla="*/ 258233 w 952500"/>
                <a:gd name="connsiteY5" fmla="*/ 0 h 598121"/>
                <a:gd name="connsiteX0" fmla="*/ 258233 w 952500"/>
                <a:gd name="connsiteY0" fmla="*/ 0 h 598121"/>
                <a:gd name="connsiteX1" fmla="*/ 0 w 952500"/>
                <a:gd name="connsiteY1" fmla="*/ 563033 h 598121"/>
                <a:gd name="connsiteX2" fmla="*/ 402166 w 952500"/>
                <a:gd name="connsiteY2" fmla="*/ 592666 h 598121"/>
                <a:gd name="connsiteX3" fmla="*/ 664634 w 952500"/>
                <a:gd name="connsiteY3" fmla="*/ 469900 h 598121"/>
                <a:gd name="connsiteX4" fmla="*/ 952500 w 952500"/>
                <a:gd name="connsiteY4" fmla="*/ 105833 h 598121"/>
                <a:gd name="connsiteX5" fmla="*/ 258233 w 952500"/>
                <a:gd name="connsiteY5" fmla="*/ 0 h 598121"/>
                <a:gd name="connsiteX0" fmla="*/ 258233 w 1147884"/>
                <a:gd name="connsiteY0" fmla="*/ 0 h 598121"/>
                <a:gd name="connsiteX1" fmla="*/ 0 w 1147884"/>
                <a:gd name="connsiteY1" fmla="*/ 563033 h 598121"/>
                <a:gd name="connsiteX2" fmla="*/ 402166 w 1147884"/>
                <a:gd name="connsiteY2" fmla="*/ 592666 h 598121"/>
                <a:gd name="connsiteX3" fmla="*/ 664634 w 1147884"/>
                <a:gd name="connsiteY3" fmla="*/ 469900 h 598121"/>
                <a:gd name="connsiteX4" fmla="*/ 1147884 w 1147884"/>
                <a:gd name="connsiteY4" fmla="*/ 58940 h 598121"/>
                <a:gd name="connsiteX5" fmla="*/ 258233 w 1147884"/>
                <a:gd name="connsiteY5" fmla="*/ 0 h 598121"/>
                <a:gd name="connsiteX0" fmla="*/ 258233 w 983761"/>
                <a:gd name="connsiteY0" fmla="*/ 0 h 598121"/>
                <a:gd name="connsiteX1" fmla="*/ 0 w 983761"/>
                <a:gd name="connsiteY1" fmla="*/ 563033 h 598121"/>
                <a:gd name="connsiteX2" fmla="*/ 402166 w 983761"/>
                <a:gd name="connsiteY2" fmla="*/ 592666 h 598121"/>
                <a:gd name="connsiteX3" fmla="*/ 664634 w 983761"/>
                <a:gd name="connsiteY3" fmla="*/ 469900 h 598121"/>
                <a:gd name="connsiteX4" fmla="*/ 983761 w 983761"/>
                <a:gd name="connsiteY4" fmla="*/ 180078 h 598121"/>
                <a:gd name="connsiteX5" fmla="*/ 258233 w 983761"/>
                <a:gd name="connsiteY5" fmla="*/ 0 h 598121"/>
                <a:gd name="connsiteX0" fmla="*/ 352018 w 983761"/>
                <a:gd name="connsiteY0" fmla="*/ 0 h 762244"/>
                <a:gd name="connsiteX1" fmla="*/ 0 w 983761"/>
                <a:gd name="connsiteY1" fmla="*/ 727156 h 762244"/>
                <a:gd name="connsiteX2" fmla="*/ 402166 w 983761"/>
                <a:gd name="connsiteY2" fmla="*/ 756789 h 762244"/>
                <a:gd name="connsiteX3" fmla="*/ 664634 w 983761"/>
                <a:gd name="connsiteY3" fmla="*/ 634023 h 762244"/>
                <a:gd name="connsiteX4" fmla="*/ 983761 w 983761"/>
                <a:gd name="connsiteY4" fmla="*/ 344201 h 762244"/>
                <a:gd name="connsiteX5" fmla="*/ 352018 w 983761"/>
                <a:gd name="connsiteY5" fmla="*/ 0 h 762244"/>
                <a:gd name="connsiteX0" fmla="*/ 383280 w 1015023"/>
                <a:gd name="connsiteY0" fmla="*/ 0 h 761029"/>
                <a:gd name="connsiteX1" fmla="*/ 0 w 1015023"/>
                <a:gd name="connsiteY1" fmla="*/ 711525 h 761029"/>
                <a:gd name="connsiteX2" fmla="*/ 433428 w 1015023"/>
                <a:gd name="connsiteY2" fmla="*/ 756789 h 761029"/>
                <a:gd name="connsiteX3" fmla="*/ 695896 w 1015023"/>
                <a:gd name="connsiteY3" fmla="*/ 634023 h 761029"/>
                <a:gd name="connsiteX4" fmla="*/ 1015023 w 1015023"/>
                <a:gd name="connsiteY4" fmla="*/ 344201 h 761029"/>
                <a:gd name="connsiteX5" fmla="*/ 383280 w 1015023"/>
                <a:gd name="connsiteY5" fmla="*/ 0 h 761029"/>
                <a:gd name="connsiteX0" fmla="*/ 438279 w 1070022"/>
                <a:gd name="connsiteY0" fmla="*/ 0 h 811952"/>
                <a:gd name="connsiteX1" fmla="*/ 0 w 1070022"/>
                <a:gd name="connsiteY1" fmla="*/ 810523 h 811952"/>
                <a:gd name="connsiteX2" fmla="*/ 488427 w 1070022"/>
                <a:gd name="connsiteY2" fmla="*/ 756789 h 811952"/>
                <a:gd name="connsiteX3" fmla="*/ 750895 w 1070022"/>
                <a:gd name="connsiteY3" fmla="*/ 634023 h 811952"/>
                <a:gd name="connsiteX4" fmla="*/ 1070022 w 1070022"/>
                <a:gd name="connsiteY4" fmla="*/ 344201 h 811952"/>
                <a:gd name="connsiteX5" fmla="*/ 438279 w 1070022"/>
                <a:gd name="connsiteY5" fmla="*/ 0 h 811952"/>
                <a:gd name="connsiteX0" fmla="*/ 438279 w 1070022"/>
                <a:gd name="connsiteY0" fmla="*/ 0 h 819096"/>
                <a:gd name="connsiteX1" fmla="*/ 0 w 1070022"/>
                <a:gd name="connsiteY1" fmla="*/ 810523 h 819096"/>
                <a:gd name="connsiteX2" fmla="*/ 488427 w 1070022"/>
                <a:gd name="connsiteY2" fmla="*/ 756789 h 819096"/>
                <a:gd name="connsiteX3" fmla="*/ 750895 w 1070022"/>
                <a:gd name="connsiteY3" fmla="*/ 634023 h 819096"/>
                <a:gd name="connsiteX4" fmla="*/ 1070022 w 1070022"/>
                <a:gd name="connsiteY4" fmla="*/ 344201 h 819096"/>
                <a:gd name="connsiteX5" fmla="*/ 438279 w 1070022"/>
                <a:gd name="connsiteY5" fmla="*/ 0 h 819096"/>
                <a:gd name="connsiteX0" fmla="*/ 438279 w 1070022"/>
                <a:gd name="connsiteY0" fmla="*/ 0 h 832360"/>
                <a:gd name="connsiteX1" fmla="*/ 0 w 1070022"/>
                <a:gd name="connsiteY1" fmla="*/ 810523 h 832360"/>
                <a:gd name="connsiteX2" fmla="*/ 334430 w 1070022"/>
                <a:gd name="connsiteY2" fmla="*/ 815455 h 832360"/>
                <a:gd name="connsiteX3" fmla="*/ 750895 w 1070022"/>
                <a:gd name="connsiteY3" fmla="*/ 634023 h 832360"/>
                <a:gd name="connsiteX4" fmla="*/ 1070022 w 1070022"/>
                <a:gd name="connsiteY4" fmla="*/ 344201 h 832360"/>
                <a:gd name="connsiteX5" fmla="*/ 438279 w 1070022"/>
                <a:gd name="connsiteY5" fmla="*/ 0 h 832360"/>
                <a:gd name="connsiteX0" fmla="*/ 439182 w 1070925"/>
                <a:gd name="connsiteY0" fmla="*/ 0 h 875789"/>
                <a:gd name="connsiteX1" fmla="*/ 903 w 1070925"/>
                <a:gd name="connsiteY1" fmla="*/ 810523 h 875789"/>
                <a:gd name="connsiteX2" fmla="*/ 335333 w 1070925"/>
                <a:gd name="connsiteY2" fmla="*/ 815455 h 875789"/>
                <a:gd name="connsiteX3" fmla="*/ 751798 w 1070925"/>
                <a:gd name="connsiteY3" fmla="*/ 634023 h 875789"/>
                <a:gd name="connsiteX4" fmla="*/ 1070925 w 1070925"/>
                <a:gd name="connsiteY4" fmla="*/ 344201 h 875789"/>
                <a:gd name="connsiteX5" fmla="*/ 439182 w 1070925"/>
                <a:gd name="connsiteY5" fmla="*/ 0 h 875789"/>
                <a:gd name="connsiteX0" fmla="*/ 438279 w 1070022"/>
                <a:gd name="connsiteY0" fmla="*/ 0 h 856379"/>
                <a:gd name="connsiteX1" fmla="*/ 0 w 1070022"/>
                <a:gd name="connsiteY1" fmla="*/ 810523 h 856379"/>
                <a:gd name="connsiteX2" fmla="*/ 334430 w 1070022"/>
                <a:gd name="connsiteY2" fmla="*/ 815455 h 856379"/>
                <a:gd name="connsiteX3" fmla="*/ 750895 w 1070022"/>
                <a:gd name="connsiteY3" fmla="*/ 634023 h 856379"/>
                <a:gd name="connsiteX4" fmla="*/ 1070022 w 1070022"/>
                <a:gd name="connsiteY4" fmla="*/ 344201 h 856379"/>
                <a:gd name="connsiteX5" fmla="*/ 438279 w 1070022"/>
                <a:gd name="connsiteY5" fmla="*/ 0 h 856379"/>
                <a:gd name="connsiteX0" fmla="*/ 438279 w 1070022"/>
                <a:gd name="connsiteY0" fmla="*/ 0 h 867741"/>
                <a:gd name="connsiteX1" fmla="*/ 0 w 1070022"/>
                <a:gd name="connsiteY1" fmla="*/ 810523 h 867741"/>
                <a:gd name="connsiteX2" fmla="*/ 433428 w 1070022"/>
                <a:gd name="connsiteY2" fmla="*/ 844787 h 867741"/>
                <a:gd name="connsiteX3" fmla="*/ 750895 w 1070022"/>
                <a:gd name="connsiteY3" fmla="*/ 634023 h 867741"/>
                <a:gd name="connsiteX4" fmla="*/ 1070022 w 1070022"/>
                <a:gd name="connsiteY4" fmla="*/ 344201 h 867741"/>
                <a:gd name="connsiteX5" fmla="*/ 438279 w 1070022"/>
                <a:gd name="connsiteY5" fmla="*/ 0 h 867741"/>
                <a:gd name="connsiteX0" fmla="*/ 438279 w 1070022"/>
                <a:gd name="connsiteY0" fmla="*/ 0 h 871320"/>
                <a:gd name="connsiteX1" fmla="*/ 0 w 1070022"/>
                <a:gd name="connsiteY1" fmla="*/ 810523 h 871320"/>
                <a:gd name="connsiteX2" fmla="*/ 433428 w 1070022"/>
                <a:gd name="connsiteY2" fmla="*/ 844787 h 871320"/>
                <a:gd name="connsiteX3" fmla="*/ 743560 w 1070022"/>
                <a:gd name="connsiteY3" fmla="*/ 663356 h 871320"/>
                <a:gd name="connsiteX4" fmla="*/ 1070022 w 1070022"/>
                <a:gd name="connsiteY4" fmla="*/ 344201 h 871320"/>
                <a:gd name="connsiteX5" fmla="*/ 438279 w 1070022"/>
                <a:gd name="connsiteY5" fmla="*/ 0 h 871320"/>
                <a:gd name="connsiteX0" fmla="*/ 438281 w 1070024"/>
                <a:gd name="connsiteY0" fmla="*/ 0 h 890855"/>
                <a:gd name="connsiteX1" fmla="*/ 2 w 1070024"/>
                <a:gd name="connsiteY1" fmla="*/ 810523 h 890855"/>
                <a:gd name="connsiteX2" fmla="*/ 433430 w 1070024"/>
                <a:gd name="connsiteY2" fmla="*/ 844787 h 890855"/>
                <a:gd name="connsiteX3" fmla="*/ 743562 w 1070024"/>
                <a:gd name="connsiteY3" fmla="*/ 663356 h 890855"/>
                <a:gd name="connsiteX4" fmla="*/ 1070024 w 1070024"/>
                <a:gd name="connsiteY4" fmla="*/ 344201 h 890855"/>
                <a:gd name="connsiteX5" fmla="*/ 438281 w 1070024"/>
                <a:gd name="connsiteY5" fmla="*/ 0 h 890855"/>
                <a:gd name="connsiteX0" fmla="*/ 438279 w 1070022"/>
                <a:gd name="connsiteY0" fmla="*/ 0 h 869072"/>
                <a:gd name="connsiteX1" fmla="*/ 0 w 1070022"/>
                <a:gd name="connsiteY1" fmla="*/ 810523 h 869072"/>
                <a:gd name="connsiteX2" fmla="*/ 433428 w 1070022"/>
                <a:gd name="connsiteY2" fmla="*/ 844787 h 869072"/>
                <a:gd name="connsiteX3" fmla="*/ 743560 w 1070022"/>
                <a:gd name="connsiteY3" fmla="*/ 663356 h 869072"/>
                <a:gd name="connsiteX4" fmla="*/ 1070022 w 1070022"/>
                <a:gd name="connsiteY4" fmla="*/ 344201 h 869072"/>
                <a:gd name="connsiteX5" fmla="*/ 438279 w 1070022"/>
                <a:gd name="connsiteY5" fmla="*/ 0 h 869072"/>
                <a:gd name="connsiteX0" fmla="*/ 449279 w 1081022"/>
                <a:gd name="connsiteY0" fmla="*/ 0 h 875351"/>
                <a:gd name="connsiteX1" fmla="*/ 0 w 1081022"/>
                <a:gd name="connsiteY1" fmla="*/ 821523 h 875351"/>
                <a:gd name="connsiteX2" fmla="*/ 444428 w 1081022"/>
                <a:gd name="connsiteY2" fmla="*/ 844787 h 875351"/>
                <a:gd name="connsiteX3" fmla="*/ 754560 w 1081022"/>
                <a:gd name="connsiteY3" fmla="*/ 663356 h 875351"/>
                <a:gd name="connsiteX4" fmla="*/ 1081022 w 1081022"/>
                <a:gd name="connsiteY4" fmla="*/ 344201 h 875351"/>
                <a:gd name="connsiteX5" fmla="*/ 449279 w 1081022"/>
                <a:gd name="connsiteY5" fmla="*/ 0 h 875351"/>
                <a:gd name="connsiteX0" fmla="*/ 449279 w 1081022"/>
                <a:gd name="connsiteY0" fmla="*/ 0 h 864524"/>
                <a:gd name="connsiteX1" fmla="*/ 0 w 1081022"/>
                <a:gd name="connsiteY1" fmla="*/ 821523 h 864524"/>
                <a:gd name="connsiteX2" fmla="*/ 444428 w 1081022"/>
                <a:gd name="connsiteY2" fmla="*/ 844787 h 864524"/>
                <a:gd name="connsiteX3" fmla="*/ 754560 w 1081022"/>
                <a:gd name="connsiteY3" fmla="*/ 663356 h 864524"/>
                <a:gd name="connsiteX4" fmla="*/ 1081022 w 1081022"/>
                <a:gd name="connsiteY4" fmla="*/ 344201 h 864524"/>
                <a:gd name="connsiteX5" fmla="*/ 449279 w 1081022"/>
                <a:gd name="connsiteY5" fmla="*/ 0 h 864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81022" h="864524">
                  <a:moveTo>
                    <a:pt x="449279" y="0"/>
                  </a:moveTo>
                  <a:lnTo>
                    <a:pt x="0" y="821523"/>
                  </a:lnTo>
                  <a:cubicBezTo>
                    <a:pt x="171522" y="877989"/>
                    <a:pt x="318668" y="871148"/>
                    <a:pt x="444428" y="844787"/>
                  </a:cubicBezTo>
                  <a:cubicBezTo>
                    <a:pt x="570188" y="818426"/>
                    <a:pt x="662838" y="744495"/>
                    <a:pt x="754560" y="663356"/>
                  </a:cubicBezTo>
                  <a:cubicBezTo>
                    <a:pt x="846282" y="582217"/>
                    <a:pt x="950494" y="435924"/>
                    <a:pt x="1081022" y="344201"/>
                  </a:cubicBezTo>
                  <a:lnTo>
                    <a:pt x="449279" y="0"/>
                  </a:lnTo>
                  <a:close/>
                </a:path>
              </a:pathLst>
            </a:custGeom>
            <a:solidFill>
              <a:srgbClr val="ADC886"/>
            </a:solidFill>
            <a:ln w="12700" cap="rnd" cmpd="sng" algn="ctr">
              <a:noFill/>
              <a:prstDash val="solid"/>
              <a:round/>
              <a:headEnd type="none" w="med" len="med"/>
              <a:tailEnd type="none" w="med" len="med"/>
            </a:ln>
            <a:effectLst/>
            <a:extLst>
              <a:ext uri="{91240B29-F687-4F45-9708-019B960494DF}">
                <a14:hiddenLine xmlns:a14="http://schemas.microsoft.com/office/drawing/2010/main" w="12700" cap="rnd"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1200" dirty="0">
                <a:solidFill>
                  <a:srgbClr val="FFFFFF"/>
                </a:solidFill>
                <a:latin typeface="Trebuchet MS"/>
                <a:ea typeface="Meiryo UI"/>
              </a:endParaRPr>
            </a:p>
          </p:txBody>
        </p:sp>
        <p:pic>
          <p:nvPicPr>
            <p:cNvPr id="595" name="Picture 59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4106423" y="5105297"/>
              <a:ext cx="97279" cy="121889"/>
            </a:xfrm>
            <a:prstGeom prst="rect">
              <a:avLst/>
            </a:prstGeom>
          </p:spPr>
        </p:pic>
        <p:pic>
          <p:nvPicPr>
            <p:cNvPr id="596" name="Picture 59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3100100" y="5136050"/>
              <a:ext cx="97279" cy="121889"/>
            </a:xfrm>
            <a:prstGeom prst="rect">
              <a:avLst/>
            </a:prstGeom>
          </p:spPr>
        </p:pic>
        <p:pic>
          <p:nvPicPr>
            <p:cNvPr id="597" name="Picture 59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3224490" y="5172831"/>
              <a:ext cx="97279" cy="121889"/>
            </a:xfrm>
            <a:prstGeom prst="rect">
              <a:avLst/>
            </a:prstGeom>
          </p:spPr>
        </p:pic>
        <p:pic>
          <p:nvPicPr>
            <p:cNvPr id="598" name="Picture 59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3359674" y="5211809"/>
              <a:ext cx="97279" cy="121889"/>
            </a:xfrm>
            <a:prstGeom prst="rect">
              <a:avLst/>
            </a:prstGeom>
          </p:spPr>
        </p:pic>
        <p:pic>
          <p:nvPicPr>
            <p:cNvPr id="599" name="Picture 59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3483127" y="5246022"/>
              <a:ext cx="97279" cy="121889"/>
            </a:xfrm>
            <a:prstGeom prst="rect">
              <a:avLst/>
            </a:prstGeom>
          </p:spPr>
        </p:pic>
        <p:pic>
          <p:nvPicPr>
            <p:cNvPr id="600" name="Picture 59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3620333" y="5270334"/>
              <a:ext cx="97279" cy="121889"/>
            </a:xfrm>
            <a:prstGeom prst="rect">
              <a:avLst/>
            </a:prstGeom>
          </p:spPr>
        </p:pic>
        <p:grpSp>
          <p:nvGrpSpPr>
            <p:cNvPr id="601" name="Group 600"/>
            <p:cNvGrpSpPr/>
            <p:nvPr/>
          </p:nvGrpSpPr>
          <p:grpSpPr>
            <a:xfrm rot="21480000">
              <a:off x="4271024" y="4539996"/>
              <a:ext cx="698540" cy="592571"/>
              <a:chOff x="4035425" y="4526327"/>
              <a:chExt cx="490538" cy="398352"/>
            </a:xfrm>
          </p:grpSpPr>
          <p:sp>
            <p:nvSpPr>
              <p:cNvPr id="723" name="Freeform 722"/>
              <p:cNvSpPr/>
              <p:nvPr/>
            </p:nvSpPr>
            <p:spPr>
              <a:xfrm>
                <a:off x="4035425" y="4652963"/>
                <a:ext cx="490538" cy="225425"/>
              </a:xfrm>
              <a:custGeom>
                <a:avLst/>
                <a:gdLst>
                  <a:gd name="connsiteX0" fmla="*/ 0 w 490538"/>
                  <a:gd name="connsiteY0" fmla="*/ 165100 h 225425"/>
                  <a:gd name="connsiteX1" fmla="*/ 128588 w 490538"/>
                  <a:gd name="connsiteY1" fmla="*/ 223837 h 225425"/>
                  <a:gd name="connsiteX2" fmla="*/ 230188 w 490538"/>
                  <a:gd name="connsiteY2" fmla="*/ 225425 h 225425"/>
                  <a:gd name="connsiteX3" fmla="*/ 490538 w 490538"/>
                  <a:gd name="connsiteY3" fmla="*/ 100012 h 225425"/>
                  <a:gd name="connsiteX4" fmla="*/ 355600 w 490538"/>
                  <a:gd name="connsiteY4" fmla="*/ 3175 h 225425"/>
                  <a:gd name="connsiteX5" fmla="*/ 327025 w 490538"/>
                  <a:gd name="connsiteY5" fmla="*/ 0 h 225425"/>
                  <a:gd name="connsiteX6" fmla="*/ 0 w 490538"/>
                  <a:gd name="connsiteY6" fmla="*/ 165100 h 225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0538" h="225425">
                    <a:moveTo>
                      <a:pt x="0" y="165100"/>
                    </a:moveTo>
                    <a:lnTo>
                      <a:pt x="128588" y="223837"/>
                    </a:lnTo>
                    <a:lnTo>
                      <a:pt x="230188" y="225425"/>
                    </a:lnTo>
                    <a:lnTo>
                      <a:pt x="490538" y="100012"/>
                    </a:lnTo>
                    <a:lnTo>
                      <a:pt x="355600" y="3175"/>
                    </a:lnTo>
                    <a:lnTo>
                      <a:pt x="327025" y="0"/>
                    </a:lnTo>
                    <a:lnTo>
                      <a:pt x="0" y="165100"/>
                    </a:lnTo>
                    <a:close/>
                  </a:path>
                </a:pathLst>
              </a:custGeom>
              <a:solidFill>
                <a:schemeClr val="bg1">
                  <a:lumMod val="6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1200" dirty="0">
                  <a:solidFill>
                    <a:srgbClr val="FFFFFF"/>
                  </a:solidFill>
                  <a:latin typeface="Trebuchet MS"/>
                  <a:ea typeface="Meiryo UI"/>
                </a:endParaRPr>
              </a:p>
            </p:txBody>
          </p:sp>
          <p:pic>
            <p:nvPicPr>
              <p:cNvPr id="724" name="Picture 723"/>
              <p:cNvPicPr>
                <a:picLocks noChangeAspect="1"/>
              </p:cNvPicPr>
              <p:nvPr/>
            </p:nvPicPr>
            <p:blipFill>
              <a:blip r:embed="rId22" cstate="print">
                <a:extLst>
                  <a:ext uri="{28A0092B-C50C-407E-A947-70E740481C1C}">
                    <a14:useLocalDpi xmlns:a14="http://schemas.microsoft.com/office/drawing/2010/main" val="0"/>
                  </a:ext>
                </a:extLst>
              </a:blip>
              <a:srcRect/>
              <a:stretch>
                <a:fillRect/>
              </a:stretch>
            </p:blipFill>
            <p:spPr>
              <a:xfrm rot="179030">
                <a:off x="4054456" y="4526327"/>
                <a:ext cx="458035" cy="398352"/>
              </a:xfrm>
              <a:custGeom>
                <a:avLst/>
                <a:gdLst>
                  <a:gd name="connsiteX0" fmla="*/ 0 w 469927"/>
                  <a:gd name="connsiteY0" fmla="*/ 0 h 408694"/>
                  <a:gd name="connsiteX1" fmla="*/ 469927 w 469927"/>
                  <a:gd name="connsiteY1" fmla="*/ 0 h 408694"/>
                  <a:gd name="connsiteX2" fmla="*/ 469927 w 469927"/>
                  <a:gd name="connsiteY2" fmla="*/ 408694 h 408694"/>
                  <a:gd name="connsiteX3" fmla="*/ 241451 w 469927"/>
                  <a:gd name="connsiteY3" fmla="*/ 408694 h 408694"/>
                  <a:gd name="connsiteX4" fmla="*/ 241451 w 469927"/>
                  <a:gd name="connsiteY4" fmla="*/ 367838 h 408694"/>
                  <a:gd name="connsiteX5" fmla="*/ 74651 w 469927"/>
                  <a:gd name="connsiteY5" fmla="*/ 367838 h 408694"/>
                  <a:gd name="connsiteX6" fmla="*/ 74651 w 469927"/>
                  <a:gd name="connsiteY6" fmla="*/ 408694 h 408694"/>
                  <a:gd name="connsiteX7" fmla="*/ 0 w 469927"/>
                  <a:gd name="connsiteY7" fmla="*/ 408694 h 408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9927" h="408694">
                    <a:moveTo>
                      <a:pt x="0" y="0"/>
                    </a:moveTo>
                    <a:lnTo>
                      <a:pt x="469927" y="0"/>
                    </a:lnTo>
                    <a:lnTo>
                      <a:pt x="469927" y="408694"/>
                    </a:lnTo>
                    <a:lnTo>
                      <a:pt x="241451" y="408694"/>
                    </a:lnTo>
                    <a:lnTo>
                      <a:pt x="241451" y="367838"/>
                    </a:lnTo>
                    <a:lnTo>
                      <a:pt x="74651" y="367838"/>
                    </a:lnTo>
                    <a:lnTo>
                      <a:pt x="74651" y="408694"/>
                    </a:lnTo>
                    <a:lnTo>
                      <a:pt x="0" y="408694"/>
                    </a:lnTo>
                    <a:close/>
                  </a:path>
                </a:pathLst>
              </a:custGeom>
            </p:spPr>
          </p:pic>
        </p:grpSp>
        <p:pic>
          <p:nvPicPr>
            <p:cNvPr id="602" name="Picture 60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467472" y="3662357"/>
              <a:ext cx="77182" cy="96709"/>
            </a:xfrm>
            <a:prstGeom prst="rect">
              <a:avLst/>
            </a:prstGeom>
          </p:spPr>
        </p:pic>
        <p:pic>
          <p:nvPicPr>
            <p:cNvPr id="603" name="Picture 60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28105" y="3748453"/>
              <a:ext cx="77182" cy="96709"/>
            </a:xfrm>
            <a:prstGeom prst="rect">
              <a:avLst/>
            </a:prstGeom>
          </p:spPr>
        </p:pic>
        <p:pic>
          <p:nvPicPr>
            <p:cNvPr id="604" name="Picture 603"/>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flipH="1">
              <a:off x="4206263" y="4066478"/>
              <a:ext cx="87001" cy="97611"/>
            </a:xfrm>
            <a:prstGeom prst="rect">
              <a:avLst/>
            </a:prstGeom>
          </p:spPr>
        </p:pic>
        <p:pic>
          <p:nvPicPr>
            <p:cNvPr id="605" name="Picture 604"/>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flipH="1">
              <a:off x="5502216" y="4169810"/>
              <a:ext cx="180693" cy="147646"/>
            </a:xfrm>
            <a:prstGeom prst="rect">
              <a:avLst/>
            </a:prstGeom>
            <a:noFill/>
            <a:ln>
              <a:noFill/>
            </a:ln>
          </p:spPr>
        </p:pic>
        <p:pic>
          <p:nvPicPr>
            <p:cNvPr id="606" name="Picture 605"/>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587630" y="4945240"/>
              <a:ext cx="121777" cy="89378"/>
            </a:xfrm>
            <a:prstGeom prst="rect">
              <a:avLst/>
            </a:prstGeom>
          </p:spPr>
        </p:pic>
        <p:pic>
          <p:nvPicPr>
            <p:cNvPr id="607" name="Picture 606"/>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434688" y="4918170"/>
              <a:ext cx="121777" cy="89378"/>
            </a:xfrm>
            <a:prstGeom prst="rect">
              <a:avLst/>
            </a:prstGeom>
          </p:spPr>
        </p:pic>
        <p:sp>
          <p:nvSpPr>
            <p:cNvPr id="608" name="Freeform 607"/>
            <p:cNvSpPr/>
            <p:nvPr/>
          </p:nvSpPr>
          <p:spPr>
            <a:xfrm>
              <a:off x="4232568" y="4336298"/>
              <a:ext cx="789547" cy="512077"/>
            </a:xfrm>
            <a:custGeom>
              <a:avLst/>
              <a:gdLst>
                <a:gd name="connsiteX0" fmla="*/ 515815 w 1473200"/>
                <a:gd name="connsiteY0" fmla="*/ 0 h 980830"/>
                <a:gd name="connsiteX1" fmla="*/ 0 w 1473200"/>
                <a:gd name="connsiteY1" fmla="*/ 980830 h 980830"/>
                <a:gd name="connsiteX2" fmla="*/ 1473200 w 1473200"/>
                <a:gd name="connsiteY2" fmla="*/ 101600 h 980830"/>
                <a:gd name="connsiteX3" fmla="*/ 496277 w 1473200"/>
                <a:gd name="connsiteY3" fmla="*/ 58615 h 980830"/>
                <a:gd name="connsiteX0" fmla="*/ 515815 w 1473200"/>
                <a:gd name="connsiteY0" fmla="*/ 0 h 980830"/>
                <a:gd name="connsiteX1" fmla="*/ 0 w 1473200"/>
                <a:gd name="connsiteY1" fmla="*/ 980830 h 980830"/>
                <a:gd name="connsiteX2" fmla="*/ 1473200 w 1473200"/>
                <a:gd name="connsiteY2" fmla="*/ 101600 h 980830"/>
                <a:gd name="connsiteX3" fmla="*/ 496277 w 1473200"/>
                <a:gd name="connsiteY3" fmla="*/ 58615 h 980830"/>
                <a:gd name="connsiteX4" fmla="*/ 515815 w 1473200"/>
                <a:gd name="connsiteY4" fmla="*/ 0 h 980830"/>
                <a:gd name="connsiteX0" fmla="*/ 515815 w 1473200"/>
                <a:gd name="connsiteY0" fmla="*/ 0 h 980830"/>
                <a:gd name="connsiteX1" fmla="*/ 0 w 1473200"/>
                <a:gd name="connsiteY1" fmla="*/ 980830 h 980830"/>
                <a:gd name="connsiteX2" fmla="*/ 1473200 w 1473200"/>
                <a:gd name="connsiteY2" fmla="*/ 101600 h 980830"/>
                <a:gd name="connsiteX3" fmla="*/ 515815 w 1473200"/>
                <a:gd name="connsiteY3" fmla="*/ 0 h 980830"/>
                <a:gd name="connsiteX0" fmla="*/ 457200 w 1473200"/>
                <a:gd name="connsiteY0" fmla="*/ 0 h 887045"/>
                <a:gd name="connsiteX1" fmla="*/ 0 w 1473200"/>
                <a:gd name="connsiteY1" fmla="*/ 887045 h 887045"/>
                <a:gd name="connsiteX2" fmla="*/ 1473200 w 1473200"/>
                <a:gd name="connsiteY2" fmla="*/ 7815 h 887045"/>
                <a:gd name="connsiteX3" fmla="*/ 457200 w 1473200"/>
                <a:gd name="connsiteY3" fmla="*/ 0 h 887045"/>
                <a:gd name="connsiteX0" fmla="*/ 457200 w 1367692"/>
                <a:gd name="connsiteY0" fmla="*/ 0 h 887045"/>
                <a:gd name="connsiteX1" fmla="*/ 0 w 1367692"/>
                <a:gd name="connsiteY1" fmla="*/ 887045 h 887045"/>
                <a:gd name="connsiteX2" fmla="*/ 1367692 w 1367692"/>
                <a:gd name="connsiteY2" fmla="*/ 78154 h 887045"/>
                <a:gd name="connsiteX3" fmla="*/ 457200 w 1367692"/>
                <a:gd name="connsiteY3" fmla="*/ 0 h 887045"/>
              </a:gdLst>
              <a:ahLst/>
              <a:cxnLst>
                <a:cxn ang="0">
                  <a:pos x="connsiteX0" y="connsiteY0"/>
                </a:cxn>
                <a:cxn ang="0">
                  <a:pos x="connsiteX1" y="connsiteY1"/>
                </a:cxn>
                <a:cxn ang="0">
                  <a:pos x="connsiteX2" y="connsiteY2"/>
                </a:cxn>
                <a:cxn ang="0">
                  <a:pos x="connsiteX3" y="connsiteY3"/>
                </a:cxn>
              </a:cxnLst>
              <a:rect l="l" t="t" r="r" b="b"/>
              <a:pathLst>
                <a:path w="1367692" h="887045">
                  <a:moveTo>
                    <a:pt x="457200" y="0"/>
                  </a:moveTo>
                  <a:lnTo>
                    <a:pt x="0" y="887045"/>
                  </a:lnTo>
                  <a:lnTo>
                    <a:pt x="1367692" y="78154"/>
                  </a:lnTo>
                  <a:lnTo>
                    <a:pt x="457200" y="0"/>
                  </a:lnTo>
                  <a:close/>
                </a:path>
              </a:pathLst>
            </a:custGeom>
            <a:solidFill>
              <a:srgbClr val="ADC886"/>
            </a:solidFill>
            <a:ln w="12700" cap="rnd" cmpd="sng" algn="ctr">
              <a:noFill/>
              <a:prstDash val="solid"/>
              <a:round/>
              <a:headEnd type="none" w="med" len="med"/>
              <a:tailEnd type="none" w="med" len="med"/>
            </a:ln>
            <a:effectLst/>
            <a:extLst>
              <a:ext uri="{91240B29-F687-4F45-9708-019B960494DF}">
                <a14:hiddenLine xmlns:a14="http://schemas.microsoft.com/office/drawing/2010/main" w="12700" cap="rnd"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200">
                <a:solidFill>
                  <a:srgbClr val="FFFFFF"/>
                </a:solidFill>
                <a:latin typeface="Trebuchet MS"/>
                <a:ea typeface="Meiryo UI"/>
              </a:endParaRPr>
            </a:p>
          </p:txBody>
        </p:sp>
        <p:pic>
          <p:nvPicPr>
            <p:cNvPr id="609" name="Picture 608"/>
            <p:cNvPicPr>
              <a:picLocks noChangeAspect="1"/>
            </p:cNvPicPr>
            <p:nvPr/>
          </p:nvPicPr>
          <p:blipFill rotWithShape="1">
            <a:blip r:embed="rId24" cstate="print">
              <a:extLst>
                <a:ext uri="{28A0092B-C50C-407E-A947-70E740481C1C}">
                  <a14:useLocalDpi xmlns:a14="http://schemas.microsoft.com/office/drawing/2010/main" val="0"/>
                </a:ext>
              </a:extLst>
            </a:blip>
            <a:srcRect b="19757"/>
            <a:stretch/>
          </p:blipFill>
          <p:spPr>
            <a:xfrm>
              <a:off x="4482225" y="4216341"/>
              <a:ext cx="278643" cy="365780"/>
            </a:xfrm>
            <a:prstGeom prst="rect">
              <a:avLst/>
            </a:prstGeom>
          </p:spPr>
        </p:pic>
        <p:pic>
          <p:nvPicPr>
            <p:cNvPr id="610" name="Picture 609"/>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flipH="1">
              <a:off x="5741068" y="3994829"/>
              <a:ext cx="180693" cy="147646"/>
            </a:xfrm>
            <a:prstGeom prst="rect">
              <a:avLst/>
            </a:prstGeom>
            <a:noFill/>
            <a:ln>
              <a:noFill/>
            </a:ln>
          </p:spPr>
        </p:pic>
        <p:pic>
          <p:nvPicPr>
            <p:cNvPr id="611" name="Picture 610"/>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flipH="1">
              <a:off x="5935281" y="4083950"/>
              <a:ext cx="180693" cy="147646"/>
            </a:xfrm>
            <a:prstGeom prst="rect">
              <a:avLst/>
            </a:prstGeom>
            <a:noFill/>
            <a:ln>
              <a:noFill/>
            </a:ln>
          </p:spPr>
        </p:pic>
        <p:pic>
          <p:nvPicPr>
            <p:cNvPr id="612" name="Picture 61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609232" y="4217732"/>
              <a:ext cx="97279" cy="121889"/>
            </a:xfrm>
            <a:prstGeom prst="rect">
              <a:avLst/>
            </a:prstGeom>
          </p:spPr>
        </p:pic>
        <p:pic>
          <p:nvPicPr>
            <p:cNvPr id="613" name="Picture 612"/>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flipH="1">
              <a:off x="5691504" y="4260045"/>
              <a:ext cx="180693" cy="147646"/>
            </a:xfrm>
            <a:prstGeom prst="rect">
              <a:avLst/>
            </a:prstGeom>
            <a:noFill/>
            <a:ln>
              <a:noFill/>
            </a:ln>
          </p:spPr>
        </p:pic>
        <p:pic>
          <p:nvPicPr>
            <p:cNvPr id="614" name="Picture 61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4045599" y="5222600"/>
              <a:ext cx="97279" cy="121889"/>
            </a:xfrm>
            <a:prstGeom prst="rect">
              <a:avLst/>
            </a:prstGeom>
          </p:spPr>
        </p:pic>
        <p:pic>
          <p:nvPicPr>
            <p:cNvPr id="615" name="Picture 61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4232891" y="5080481"/>
              <a:ext cx="97279" cy="121889"/>
            </a:xfrm>
            <a:prstGeom prst="rect">
              <a:avLst/>
            </a:prstGeom>
          </p:spPr>
        </p:pic>
        <p:pic>
          <p:nvPicPr>
            <p:cNvPr id="616" name="Picture 61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flipH="1">
              <a:off x="4197969" y="5197692"/>
              <a:ext cx="72133" cy="75463"/>
            </a:xfrm>
            <a:prstGeom prst="rect">
              <a:avLst/>
            </a:prstGeom>
          </p:spPr>
        </p:pic>
        <p:pic>
          <p:nvPicPr>
            <p:cNvPr id="617" name="Picture 61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flipH="1">
              <a:off x="4149349" y="5271061"/>
              <a:ext cx="72133" cy="75463"/>
            </a:xfrm>
            <a:prstGeom prst="rect">
              <a:avLst/>
            </a:prstGeom>
          </p:spPr>
        </p:pic>
        <p:pic>
          <p:nvPicPr>
            <p:cNvPr id="618" name="Picture 61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56166" y="4314792"/>
              <a:ext cx="43039" cy="117107"/>
            </a:xfrm>
            <a:prstGeom prst="rect">
              <a:avLst/>
            </a:prstGeom>
          </p:spPr>
        </p:pic>
        <p:pic>
          <p:nvPicPr>
            <p:cNvPr id="619" name="Picture 61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24424" y="3937968"/>
              <a:ext cx="43039" cy="117107"/>
            </a:xfrm>
            <a:prstGeom prst="rect">
              <a:avLst/>
            </a:prstGeom>
          </p:spPr>
        </p:pic>
        <p:pic>
          <p:nvPicPr>
            <p:cNvPr id="620" name="Picture 61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905644" y="4884054"/>
              <a:ext cx="43039" cy="117107"/>
            </a:xfrm>
            <a:prstGeom prst="rect">
              <a:avLst/>
            </a:prstGeom>
          </p:spPr>
        </p:pic>
        <p:pic>
          <p:nvPicPr>
            <p:cNvPr id="621" name="Picture 62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34209" y="4685539"/>
              <a:ext cx="43039" cy="117107"/>
            </a:xfrm>
            <a:prstGeom prst="rect">
              <a:avLst/>
            </a:prstGeom>
          </p:spPr>
        </p:pic>
        <p:pic>
          <p:nvPicPr>
            <p:cNvPr id="622" name="Picture 62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64902" y="4752932"/>
              <a:ext cx="43039" cy="117107"/>
            </a:xfrm>
            <a:prstGeom prst="rect">
              <a:avLst/>
            </a:prstGeom>
          </p:spPr>
        </p:pic>
        <p:pic>
          <p:nvPicPr>
            <p:cNvPr id="623" name="Picture 62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401612" y="4748421"/>
              <a:ext cx="43039" cy="117107"/>
            </a:xfrm>
            <a:prstGeom prst="rect">
              <a:avLst/>
            </a:prstGeom>
          </p:spPr>
        </p:pic>
        <p:cxnSp>
          <p:nvCxnSpPr>
            <p:cNvPr id="624" name="Straight Connector 623"/>
            <p:cNvCxnSpPr/>
            <p:nvPr/>
          </p:nvCxnSpPr>
          <p:spPr>
            <a:xfrm>
              <a:off x="5563518" y="4112969"/>
              <a:ext cx="457937" cy="225585"/>
            </a:xfrm>
            <a:prstGeom prst="line">
              <a:avLst/>
            </a:prstGeom>
            <a:ln w="57150">
              <a:solidFill>
                <a:srgbClr val="D3D3D3"/>
              </a:solidFill>
              <a:prstDash val="solid"/>
              <a:miter lim="800000"/>
            </a:ln>
          </p:spPr>
          <p:style>
            <a:lnRef idx="1">
              <a:schemeClr val="accent1"/>
            </a:lnRef>
            <a:fillRef idx="0">
              <a:schemeClr val="accent1"/>
            </a:fillRef>
            <a:effectRef idx="0">
              <a:schemeClr val="accent1"/>
            </a:effectRef>
            <a:fontRef idx="minor">
              <a:schemeClr val="tx1"/>
            </a:fontRef>
          </p:style>
        </p:cxnSp>
        <p:pic>
          <p:nvPicPr>
            <p:cNvPr id="625" name="Picture 62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893870" y="4236343"/>
              <a:ext cx="43039" cy="117107"/>
            </a:xfrm>
            <a:prstGeom prst="rect">
              <a:avLst/>
            </a:prstGeom>
          </p:spPr>
        </p:pic>
        <p:cxnSp>
          <p:nvCxnSpPr>
            <p:cNvPr id="626" name="Straight Connector 625"/>
            <p:cNvCxnSpPr/>
            <p:nvPr/>
          </p:nvCxnSpPr>
          <p:spPr>
            <a:xfrm>
              <a:off x="5327222" y="4237548"/>
              <a:ext cx="461861" cy="243435"/>
            </a:xfrm>
            <a:prstGeom prst="line">
              <a:avLst/>
            </a:prstGeom>
            <a:ln w="57150">
              <a:solidFill>
                <a:srgbClr val="D3D3D3"/>
              </a:solidFill>
              <a:prstDash val="solid"/>
              <a:miter lim="800000"/>
            </a:ln>
          </p:spPr>
          <p:style>
            <a:lnRef idx="1">
              <a:schemeClr val="accent1"/>
            </a:lnRef>
            <a:fillRef idx="0">
              <a:schemeClr val="accent1"/>
            </a:fillRef>
            <a:effectRef idx="0">
              <a:schemeClr val="accent1"/>
            </a:effectRef>
            <a:fontRef idx="minor">
              <a:schemeClr val="tx1"/>
            </a:fontRef>
          </p:style>
        </p:cxnSp>
        <p:pic>
          <p:nvPicPr>
            <p:cNvPr id="627" name="Picture 626"/>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5444253" y="4252069"/>
              <a:ext cx="83595" cy="86239"/>
            </a:xfrm>
            <a:prstGeom prst="rect">
              <a:avLst/>
            </a:prstGeom>
          </p:spPr>
        </p:pic>
        <p:cxnSp>
          <p:nvCxnSpPr>
            <p:cNvPr id="628" name="Straight Connector 627"/>
            <p:cNvCxnSpPr>
              <a:endCxn id="346" idx="5"/>
            </p:cNvCxnSpPr>
            <p:nvPr/>
          </p:nvCxnSpPr>
          <p:spPr>
            <a:xfrm>
              <a:off x="5846568" y="4436995"/>
              <a:ext cx="658818" cy="368034"/>
            </a:xfrm>
            <a:prstGeom prst="line">
              <a:avLst/>
            </a:prstGeom>
            <a:ln w="57150">
              <a:solidFill>
                <a:srgbClr val="D3D3D3"/>
              </a:solidFill>
              <a:prstDash val="solid"/>
              <a:miter lim="800000"/>
            </a:ln>
          </p:spPr>
          <p:style>
            <a:lnRef idx="1">
              <a:schemeClr val="accent1"/>
            </a:lnRef>
            <a:fillRef idx="0">
              <a:schemeClr val="accent1"/>
            </a:fillRef>
            <a:effectRef idx="0">
              <a:schemeClr val="accent1"/>
            </a:effectRef>
            <a:fontRef idx="minor">
              <a:schemeClr val="tx1"/>
            </a:fontRef>
          </p:style>
        </p:cxnSp>
        <p:cxnSp>
          <p:nvCxnSpPr>
            <p:cNvPr id="629" name="Straight Connector 628"/>
            <p:cNvCxnSpPr/>
            <p:nvPr/>
          </p:nvCxnSpPr>
          <p:spPr>
            <a:xfrm>
              <a:off x="3192622" y="4746862"/>
              <a:ext cx="756061" cy="440366"/>
            </a:xfrm>
            <a:prstGeom prst="line">
              <a:avLst/>
            </a:prstGeom>
            <a:ln w="57150">
              <a:solidFill>
                <a:srgbClr val="D3D3D3"/>
              </a:solidFill>
              <a:prstDash val="solid"/>
              <a:miter lim="800000"/>
            </a:ln>
          </p:spPr>
          <p:style>
            <a:lnRef idx="1">
              <a:schemeClr val="accent1"/>
            </a:lnRef>
            <a:fillRef idx="0">
              <a:schemeClr val="accent1"/>
            </a:fillRef>
            <a:effectRef idx="0">
              <a:schemeClr val="accent1"/>
            </a:effectRef>
            <a:fontRef idx="minor">
              <a:schemeClr val="tx1"/>
            </a:fontRef>
          </p:style>
        </p:cxnSp>
        <p:pic>
          <p:nvPicPr>
            <p:cNvPr id="630" name="Picture 629"/>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3116246" y="4697233"/>
              <a:ext cx="375173" cy="375173"/>
            </a:xfrm>
            <a:prstGeom prst="rect">
              <a:avLst/>
            </a:prstGeom>
          </p:spPr>
        </p:pic>
        <p:pic>
          <p:nvPicPr>
            <p:cNvPr id="631" name="Picture 63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145080" y="4970388"/>
              <a:ext cx="43039" cy="117107"/>
            </a:xfrm>
            <a:prstGeom prst="rect">
              <a:avLst/>
            </a:prstGeom>
          </p:spPr>
        </p:pic>
        <p:pic>
          <p:nvPicPr>
            <p:cNvPr id="632" name="Picture 631"/>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rot="21028132">
              <a:off x="2880460" y="5241999"/>
              <a:ext cx="128118" cy="97287"/>
            </a:xfrm>
            <a:prstGeom prst="rect">
              <a:avLst/>
            </a:prstGeom>
          </p:spPr>
        </p:pic>
        <p:pic>
          <p:nvPicPr>
            <p:cNvPr id="633" name="Picture 632"/>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rot="19619737">
              <a:off x="4850174" y="4979901"/>
              <a:ext cx="128118" cy="97287"/>
            </a:xfrm>
            <a:prstGeom prst="rect">
              <a:avLst/>
            </a:prstGeom>
          </p:spPr>
        </p:pic>
        <p:pic>
          <p:nvPicPr>
            <p:cNvPr id="634" name="Picture 633"/>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rot="20403180">
              <a:off x="3854213" y="4165612"/>
              <a:ext cx="128118" cy="97287"/>
            </a:xfrm>
            <a:prstGeom prst="rect">
              <a:avLst/>
            </a:prstGeom>
          </p:spPr>
        </p:pic>
        <p:pic>
          <p:nvPicPr>
            <p:cNvPr id="635" name="Picture 634"/>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flipH="1">
              <a:off x="5191935" y="4208473"/>
              <a:ext cx="128118" cy="97287"/>
            </a:xfrm>
            <a:prstGeom prst="rect">
              <a:avLst/>
            </a:prstGeom>
          </p:spPr>
        </p:pic>
        <p:sp>
          <p:nvSpPr>
            <p:cNvPr id="636" name="Freeform 635"/>
            <p:cNvSpPr/>
            <p:nvPr/>
          </p:nvSpPr>
          <p:spPr>
            <a:xfrm>
              <a:off x="3995704" y="3691125"/>
              <a:ext cx="430867" cy="451170"/>
            </a:xfrm>
            <a:custGeom>
              <a:avLst/>
              <a:gdLst>
                <a:gd name="connsiteX0" fmla="*/ 390769 w 746369"/>
                <a:gd name="connsiteY0" fmla="*/ 0 h 781539"/>
                <a:gd name="connsiteX1" fmla="*/ 0 w 746369"/>
                <a:gd name="connsiteY1" fmla="*/ 293077 h 781539"/>
                <a:gd name="connsiteX2" fmla="*/ 746369 w 746369"/>
                <a:gd name="connsiteY2" fmla="*/ 781539 h 781539"/>
              </a:gdLst>
              <a:ahLst/>
              <a:cxnLst>
                <a:cxn ang="0">
                  <a:pos x="connsiteX0" y="connsiteY0"/>
                </a:cxn>
                <a:cxn ang="0">
                  <a:pos x="connsiteX1" y="connsiteY1"/>
                </a:cxn>
                <a:cxn ang="0">
                  <a:pos x="connsiteX2" y="connsiteY2"/>
                </a:cxn>
              </a:cxnLst>
              <a:rect l="l" t="t" r="r" b="b"/>
              <a:pathLst>
                <a:path w="746369" h="781539">
                  <a:moveTo>
                    <a:pt x="390769" y="0"/>
                  </a:moveTo>
                  <a:lnTo>
                    <a:pt x="0" y="293077"/>
                  </a:lnTo>
                  <a:lnTo>
                    <a:pt x="746369" y="781539"/>
                  </a:lnTo>
                </a:path>
              </a:pathLst>
            </a:custGeom>
            <a:ln w="57150">
              <a:solidFill>
                <a:srgbClr val="D3D3D3"/>
              </a:solidFill>
              <a:prstDash val="solid"/>
              <a:miter lim="800000"/>
            </a:ln>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en-US">
                <a:solidFill>
                  <a:srgbClr val="000000"/>
                </a:solidFill>
                <a:latin typeface="Trebuchet MS"/>
                <a:ea typeface="Meiryo UI"/>
              </a:endParaRPr>
            </a:p>
          </p:txBody>
        </p:sp>
        <p:pic>
          <p:nvPicPr>
            <p:cNvPr id="637" name="Picture 63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303144" y="4079147"/>
              <a:ext cx="77182" cy="96709"/>
            </a:xfrm>
            <a:prstGeom prst="rect">
              <a:avLst/>
            </a:prstGeom>
          </p:spPr>
        </p:pic>
        <p:pic>
          <p:nvPicPr>
            <p:cNvPr id="638" name="Picture 637"/>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rot="20109383" flipH="1">
              <a:off x="4041435" y="4842366"/>
              <a:ext cx="128118" cy="97287"/>
            </a:xfrm>
            <a:prstGeom prst="rect">
              <a:avLst/>
            </a:prstGeom>
          </p:spPr>
        </p:pic>
        <p:cxnSp>
          <p:nvCxnSpPr>
            <p:cNvPr id="639" name="Straight Connector 638"/>
            <p:cNvCxnSpPr/>
            <p:nvPr/>
          </p:nvCxnSpPr>
          <p:spPr>
            <a:xfrm>
              <a:off x="3161540" y="4367095"/>
              <a:ext cx="432623" cy="260245"/>
            </a:xfrm>
            <a:prstGeom prst="line">
              <a:avLst/>
            </a:prstGeom>
            <a:ln w="57150">
              <a:solidFill>
                <a:srgbClr val="D3D3D3"/>
              </a:solidFill>
              <a:prstDash val="solid"/>
              <a:miter lim="800000"/>
            </a:ln>
          </p:spPr>
          <p:style>
            <a:lnRef idx="1">
              <a:schemeClr val="accent1"/>
            </a:lnRef>
            <a:fillRef idx="0">
              <a:schemeClr val="accent1"/>
            </a:fillRef>
            <a:effectRef idx="0">
              <a:schemeClr val="accent1"/>
            </a:effectRef>
            <a:fontRef idx="minor">
              <a:schemeClr val="tx1"/>
            </a:fontRef>
          </p:style>
        </p:cxnSp>
        <p:pic>
          <p:nvPicPr>
            <p:cNvPr id="640" name="Picture 63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3167921" y="4396694"/>
              <a:ext cx="74200" cy="92972"/>
            </a:xfrm>
            <a:prstGeom prst="rect">
              <a:avLst/>
            </a:prstGeom>
          </p:spPr>
        </p:pic>
        <p:pic>
          <p:nvPicPr>
            <p:cNvPr id="641" name="Picture 640"/>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3316566" y="4421257"/>
              <a:ext cx="83595" cy="86239"/>
            </a:xfrm>
            <a:prstGeom prst="rect">
              <a:avLst/>
            </a:prstGeom>
          </p:spPr>
        </p:pic>
        <p:pic>
          <p:nvPicPr>
            <p:cNvPr id="642" name="Picture 64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3329408" y="4534366"/>
              <a:ext cx="74200" cy="92972"/>
            </a:xfrm>
            <a:prstGeom prst="rect">
              <a:avLst/>
            </a:prstGeom>
          </p:spPr>
        </p:pic>
        <p:pic>
          <p:nvPicPr>
            <p:cNvPr id="643" name="Picture 642"/>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2457739" y="4840817"/>
              <a:ext cx="66811" cy="94679"/>
            </a:xfrm>
            <a:prstGeom prst="rect">
              <a:avLst/>
            </a:prstGeom>
          </p:spPr>
        </p:pic>
        <p:pic>
          <p:nvPicPr>
            <p:cNvPr id="644" name="Picture 64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3395767" y="4921153"/>
              <a:ext cx="97279" cy="121889"/>
            </a:xfrm>
            <a:prstGeom prst="rect">
              <a:avLst/>
            </a:prstGeom>
          </p:spPr>
        </p:pic>
        <p:pic>
          <p:nvPicPr>
            <p:cNvPr id="645" name="Picture 644"/>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4076907" y="3866319"/>
              <a:ext cx="83595" cy="86239"/>
            </a:xfrm>
            <a:prstGeom prst="rect">
              <a:avLst/>
            </a:prstGeom>
          </p:spPr>
        </p:pic>
        <p:pic>
          <p:nvPicPr>
            <p:cNvPr id="646" name="Picture 64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4682386" y="4442078"/>
              <a:ext cx="74200" cy="92972"/>
            </a:xfrm>
            <a:prstGeom prst="rect">
              <a:avLst/>
            </a:prstGeom>
          </p:spPr>
        </p:pic>
        <p:pic>
          <p:nvPicPr>
            <p:cNvPr id="647" name="Picture 64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4613015" y="4480427"/>
              <a:ext cx="74200" cy="92972"/>
            </a:xfrm>
            <a:prstGeom prst="rect">
              <a:avLst/>
            </a:prstGeom>
          </p:spPr>
        </p:pic>
        <p:pic>
          <p:nvPicPr>
            <p:cNvPr id="648" name="Picture 64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949827" y="4938253"/>
              <a:ext cx="46352" cy="99493"/>
            </a:xfrm>
            <a:prstGeom prst="rect">
              <a:avLst/>
            </a:prstGeom>
          </p:spPr>
        </p:pic>
        <p:pic>
          <p:nvPicPr>
            <p:cNvPr id="649" name="Picture 648"/>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5239507" y="4883679"/>
              <a:ext cx="115186" cy="96756"/>
            </a:xfrm>
            <a:prstGeom prst="rect">
              <a:avLst/>
            </a:prstGeom>
          </p:spPr>
        </p:pic>
        <p:pic>
          <p:nvPicPr>
            <p:cNvPr id="650" name="Picture 649"/>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035677" y="5363703"/>
              <a:ext cx="46352" cy="99493"/>
            </a:xfrm>
            <a:prstGeom prst="rect">
              <a:avLst/>
            </a:prstGeom>
          </p:spPr>
        </p:pic>
        <p:pic>
          <p:nvPicPr>
            <p:cNvPr id="651" name="Picture 650"/>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4350527" y="5028478"/>
              <a:ext cx="131698" cy="135863"/>
            </a:xfrm>
            <a:prstGeom prst="rect">
              <a:avLst/>
            </a:prstGeom>
          </p:spPr>
        </p:pic>
        <p:cxnSp>
          <p:nvCxnSpPr>
            <p:cNvPr id="652" name="Straight Connector 651"/>
            <p:cNvCxnSpPr/>
            <p:nvPr/>
          </p:nvCxnSpPr>
          <p:spPr>
            <a:xfrm>
              <a:off x="2804583" y="5027083"/>
              <a:ext cx="1047750" cy="254000"/>
            </a:xfrm>
            <a:prstGeom prst="line">
              <a:avLst/>
            </a:prstGeom>
            <a:ln w="38100">
              <a:solidFill>
                <a:srgbClr val="D3D3D3"/>
              </a:solidFill>
              <a:prstDash val="solid"/>
              <a:miter lim="800000"/>
            </a:ln>
          </p:spPr>
          <p:style>
            <a:lnRef idx="1">
              <a:schemeClr val="accent1"/>
            </a:lnRef>
            <a:fillRef idx="0">
              <a:schemeClr val="accent1"/>
            </a:fillRef>
            <a:effectRef idx="0">
              <a:schemeClr val="accent1"/>
            </a:effectRef>
            <a:fontRef idx="minor">
              <a:schemeClr val="tx1"/>
            </a:fontRef>
          </p:style>
        </p:cxnSp>
        <p:pic>
          <p:nvPicPr>
            <p:cNvPr id="653" name="Picture 652"/>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3394491" y="5090583"/>
              <a:ext cx="70767" cy="105753"/>
            </a:xfrm>
            <a:prstGeom prst="rect">
              <a:avLst/>
            </a:prstGeom>
          </p:spPr>
        </p:pic>
        <p:pic>
          <p:nvPicPr>
            <p:cNvPr id="654" name="Picture 65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2977636" y="5091602"/>
              <a:ext cx="97279" cy="121889"/>
            </a:xfrm>
            <a:prstGeom prst="rect">
              <a:avLst/>
            </a:prstGeom>
          </p:spPr>
        </p:pic>
        <p:pic>
          <p:nvPicPr>
            <p:cNvPr id="655" name="Picture 65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2867583" y="5049268"/>
              <a:ext cx="97279" cy="121889"/>
            </a:xfrm>
            <a:prstGeom prst="rect">
              <a:avLst/>
            </a:prstGeom>
          </p:spPr>
        </p:pic>
        <p:pic>
          <p:nvPicPr>
            <p:cNvPr id="656" name="Picture 65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2761322" y="5011168"/>
              <a:ext cx="97279" cy="121889"/>
            </a:xfrm>
            <a:prstGeom prst="rect">
              <a:avLst/>
            </a:prstGeom>
          </p:spPr>
        </p:pic>
        <p:pic>
          <p:nvPicPr>
            <p:cNvPr id="657" name="Picture 65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301599" y="3945646"/>
              <a:ext cx="77182" cy="96709"/>
            </a:xfrm>
            <a:prstGeom prst="rect">
              <a:avLst/>
            </a:prstGeom>
          </p:spPr>
        </p:pic>
        <p:pic>
          <p:nvPicPr>
            <p:cNvPr id="658" name="Picture 65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2894643" y="4494601"/>
              <a:ext cx="74200" cy="92972"/>
            </a:xfrm>
            <a:prstGeom prst="rect">
              <a:avLst/>
            </a:prstGeom>
          </p:spPr>
        </p:pic>
        <p:pic>
          <p:nvPicPr>
            <p:cNvPr id="659" name="Picture 65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3987019" y="3880452"/>
              <a:ext cx="74200" cy="92972"/>
            </a:xfrm>
            <a:prstGeom prst="rect">
              <a:avLst/>
            </a:prstGeom>
          </p:spPr>
        </p:pic>
        <p:pic>
          <p:nvPicPr>
            <p:cNvPr id="660" name="Picture 65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4139798" y="3973587"/>
              <a:ext cx="74200" cy="92972"/>
            </a:xfrm>
            <a:prstGeom prst="rect">
              <a:avLst/>
            </a:prstGeom>
          </p:spPr>
        </p:pic>
        <p:pic>
          <p:nvPicPr>
            <p:cNvPr id="661" name="Picture 66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104975" y="3764716"/>
              <a:ext cx="77182" cy="96709"/>
            </a:xfrm>
            <a:prstGeom prst="rect">
              <a:avLst/>
            </a:prstGeom>
          </p:spPr>
        </p:pic>
        <p:pic>
          <p:nvPicPr>
            <p:cNvPr id="662" name="Picture 66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45328" y="3928034"/>
              <a:ext cx="43039" cy="117107"/>
            </a:xfrm>
            <a:prstGeom prst="rect">
              <a:avLst/>
            </a:prstGeom>
          </p:spPr>
        </p:pic>
        <p:pic>
          <p:nvPicPr>
            <p:cNvPr id="663" name="Picture 662"/>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4169380" y="3639240"/>
              <a:ext cx="339571" cy="339571"/>
            </a:xfrm>
            <a:prstGeom prst="rect">
              <a:avLst/>
            </a:prstGeom>
          </p:spPr>
        </p:pic>
        <p:pic>
          <p:nvPicPr>
            <p:cNvPr id="664" name="Picture 66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361196" y="3908649"/>
              <a:ext cx="77182" cy="96709"/>
            </a:xfrm>
            <a:prstGeom prst="rect">
              <a:avLst/>
            </a:prstGeom>
          </p:spPr>
        </p:pic>
        <p:pic>
          <p:nvPicPr>
            <p:cNvPr id="665" name="Picture 66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5852655" y="4042218"/>
              <a:ext cx="97279" cy="121889"/>
            </a:xfrm>
            <a:prstGeom prst="rect">
              <a:avLst/>
            </a:prstGeom>
          </p:spPr>
        </p:pic>
        <p:pic>
          <p:nvPicPr>
            <p:cNvPr id="666" name="Picture 665"/>
            <p:cNvPicPr>
              <a:picLocks noChangeAspect="1"/>
            </p:cNvPicPr>
            <p:nvPr/>
          </p:nvPicPr>
          <p:blipFill>
            <a:blip r:embed="rId8"/>
            <a:stretch>
              <a:fillRect/>
            </a:stretch>
          </p:blipFill>
          <p:spPr>
            <a:xfrm flipH="1">
              <a:off x="5142111" y="4693862"/>
              <a:ext cx="34574" cy="76831"/>
            </a:xfrm>
            <a:prstGeom prst="rect">
              <a:avLst/>
            </a:prstGeom>
          </p:spPr>
        </p:pic>
        <p:pic>
          <p:nvPicPr>
            <p:cNvPr id="667" name="Picture 666"/>
            <p:cNvPicPr>
              <a:picLocks noChangeAspect="1"/>
            </p:cNvPicPr>
            <p:nvPr/>
          </p:nvPicPr>
          <p:blipFill>
            <a:blip r:embed="rId30"/>
            <a:stretch>
              <a:fillRect/>
            </a:stretch>
          </p:blipFill>
          <p:spPr>
            <a:xfrm flipH="1">
              <a:off x="3437804" y="3667563"/>
              <a:ext cx="493495" cy="371297"/>
            </a:xfrm>
            <a:prstGeom prst="rect">
              <a:avLst/>
            </a:prstGeom>
          </p:spPr>
        </p:pic>
        <p:pic>
          <p:nvPicPr>
            <p:cNvPr id="668" name="Picture 66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607238" y="3997702"/>
              <a:ext cx="43039" cy="117107"/>
            </a:xfrm>
            <a:prstGeom prst="rect">
              <a:avLst/>
            </a:prstGeom>
          </p:spPr>
        </p:pic>
        <p:pic>
          <p:nvPicPr>
            <p:cNvPr id="669" name="Picture 66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538243" y="3986909"/>
              <a:ext cx="77182" cy="96709"/>
            </a:xfrm>
            <a:prstGeom prst="rect">
              <a:avLst/>
            </a:prstGeom>
          </p:spPr>
        </p:pic>
        <p:pic>
          <p:nvPicPr>
            <p:cNvPr id="670" name="Picture 66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099031" y="4149909"/>
              <a:ext cx="77182" cy="96709"/>
            </a:xfrm>
            <a:prstGeom prst="rect">
              <a:avLst/>
            </a:prstGeom>
          </p:spPr>
        </p:pic>
        <p:pic>
          <p:nvPicPr>
            <p:cNvPr id="671" name="Picture 670"/>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4401578" y="3987800"/>
              <a:ext cx="33425" cy="89261"/>
            </a:xfrm>
            <a:prstGeom prst="rect">
              <a:avLst/>
            </a:prstGeom>
          </p:spPr>
        </p:pic>
        <p:pic>
          <p:nvPicPr>
            <p:cNvPr id="672" name="Picture 671"/>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flipH="1">
              <a:off x="3828508" y="4969933"/>
              <a:ext cx="68691" cy="83718"/>
            </a:xfrm>
            <a:prstGeom prst="rect">
              <a:avLst/>
            </a:prstGeom>
          </p:spPr>
        </p:pic>
        <p:pic>
          <p:nvPicPr>
            <p:cNvPr id="673" name="Picture 672"/>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3759188" y="4456194"/>
              <a:ext cx="68691" cy="83718"/>
            </a:xfrm>
            <a:prstGeom prst="rect">
              <a:avLst/>
            </a:prstGeom>
          </p:spPr>
        </p:pic>
        <p:pic>
          <p:nvPicPr>
            <p:cNvPr id="674" name="Picture 673"/>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6093221" y="4059238"/>
              <a:ext cx="59716" cy="84625"/>
            </a:xfrm>
            <a:prstGeom prst="rect">
              <a:avLst/>
            </a:prstGeom>
          </p:spPr>
        </p:pic>
        <p:pic>
          <p:nvPicPr>
            <p:cNvPr id="675" name="Picture 674"/>
            <p:cNvPicPr>
              <a:picLocks noChangeAspect="1"/>
            </p:cNvPicPr>
            <p:nvPr/>
          </p:nvPicPr>
          <p:blipFill>
            <a:blip r:embed="rId33"/>
            <a:stretch>
              <a:fillRect/>
            </a:stretch>
          </p:blipFill>
          <p:spPr>
            <a:xfrm>
              <a:off x="5147426" y="3978330"/>
              <a:ext cx="73535" cy="96756"/>
            </a:xfrm>
            <a:prstGeom prst="rect">
              <a:avLst/>
            </a:prstGeom>
          </p:spPr>
        </p:pic>
        <p:pic>
          <p:nvPicPr>
            <p:cNvPr id="676" name="Picture 675"/>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4937856" y="3952344"/>
              <a:ext cx="33021" cy="70353"/>
            </a:xfrm>
            <a:prstGeom prst="rect">
              <a:avLst/>
            </a:prstGeom>
          </p:spPr>
        </p:pic>
        <p:pic>
          <p:nvPicPr>
            <p:cNvPr id="677" name="Picture 676"/>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flipH="1">
              <a:off x="3746703" y="4030556"/>
              <a:ext cx="30843" cy="83718"/>
            </a:xfrm>
            <a:prstGeom prst="rect">
              <a:avLst/>
            </a:prstGeom>
          </p:spPr>
        </p:pic>
        <p:pic>
          <p:nvPicPr>
            <p:cNvPr id="678" name="Picture 677"/>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4681152" y="4112903"/>
              <a:ext cx="38287" cy="83838"/>
            </a:xfrm>
            <a:prstGeom prst="rect">
              <a:avLst/>
            </a:prstGeom>
          </p:spPr>
        </p:pic>
        <p:pic>
          <p:nvPicPr>
            <p:cNvPr id="679" name="Picture 678"/>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flipH="1">
              <a:off x="4980542" y="3992032"/>
              <a:ext cx="47418" cy="70353"/>
            </a:xfrm>
            <a:prstGeom prst="rect">
              <a:avLst/>
            </a:prstGeom>
          </p:spPr>
        </p:pic>
        <p:pic>
          <p:nvPicPr>
            <p:cNvPr id="680" name="Picture 679"/>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flipH="1">
              <a:off x="4302485" y="5185374"/>
              <a:ext cx="71078" cy="119775"/>
            </a:xfrm>
            <a:prstGeom prst="rect">
              <a:avLst/>
            </a:prstGeom>
          </p:spPr>
        </p:pic>
        <p:pic>
          <p:nvPicPr>
            <p:cNvPr id="681" name="Picture 680"/>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3861140" y="3958168"/>
              <a:ext cx="111973" cy="148308"/>
            </a:xfrm>
            <a:prstGeom prst="rect">
              <a:avLst/>
            </a:prstGeom>
          </p:spPr>
        </p:pic>
        <p:pic>
          <p:nvPicPr>
            <p:cNvPr id="682" name="Picture 681"/>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4486716" y="4512513"/>
              <a:ext cx="36571" cy="89261"/>
            </a:xfrm>
            <a:prstGeom prst="rect">
              <a:avLst/>
            </a:prstGeom>
          </p:spPr>
        </p:pic>
        <p:pic>
          <p:nvPicPr>
            <p:cNvPr id="683" name="Picture 682"/>
            <p:cNvPicPr>
              <a:picLocks noChangeAspect="1"/>
            </p:cNvPicPr>
            <p:nvPr/>
          </p:nvPicPr>
          <p:blipFill>
            <a:blip r:embed="rId41"/>
            <a:stretch>
              <a:fillRect/>
            </a:stretch>
          </p:blipFill>
          <p:spPr>
            <a:xfrm flipH="1">
              <a:off x="5029489" y="4453467"/>
              <a:ext cx="63970" cy="89261"/>
            </a:xfrm>
            <a:prstGeom prst="rect">
              <a:avLst/>
            </a:prstGeom>
          </p:spPr>
        </p:pic>
        <p:pic>
          <p:nvPicPr>
            <p:cNvPr id="684" name="Picture 683"/>
            <p:cNvPicPr>
              <a:picLocks noChangeAspect="1"/>
            </p:cNvPicPr>
            <p:nvPr/>
          </p:nvPicPr>
          <p:blipFill>
            <a:blip r:embed="rId41"/>
            <a:stretch>
              <a:fillRect/>
            </a:stretch>
          </p:blipFill>
          <p:spPr>
            <a:xfrm flipH="1">
              <a:off x="2997488" y="4385733"/>
              <a:ext cx="65715" cy="91696"/>
            </a:xfrm>
            <a:prstGeom prst="rect">
              <a:avLst/>
            </a:prstGeom>
          </p:spPr>
        </p:pic>
        <p:pic>
          <p:nvPicPr>
            <p:cNvPr id="685" name="Picture 144"/>
            <p:cNvPicPr>
              <a:picLocks noChangeAspect="1"/>
            </p:cNvPicPr>
            <p:nvPr/>
          </p:nvPicPr>
          <p:blipFill>
            <a:blip r:embed="rId42"/>
            <a:srcRect l="1126" t="938" r="2621" b="5161"/>
            <a:stretch>
              <a:fillRect/>
            </a:stretch>
          </p:blipFill>
          <p:spPr>
            <a:xfrm>
              <a:off x="3361078" y="4089520"/>
              <a:ext cx="194605" cy="114312"/>
            </a:xfrm>
            <a:custGeom>
              <a:avLst/>
              <a:gdLst>
                <a:gd name="connsiteX0" fmla="*/ 3301762 w 5969000"/>
                <a:gd name="connsiteY0" fmla="*/ 49 h 3506211"/>
                <a:gd name="connsiteX1" fmla="*/ 3317240 w 5969000"/>
                <a:gd name="connsiteY1" fmla="*/ 1011 h 3506211"/>
                <a:gd name="connsiteX2" fmla="*/ 3637279 w 5969000"/>
                <a:gd name="connsiteY2" fmla="*/ 46732 h 3506211"/>
                <a:gd name="connsiteX3" fmla="*/ 4653279 w 5969000"/>
                <a:gd name="connsiteY3" fmla="*/ 97531 h 3506211"/>
                <a:gd name="connsiteX4" fmla="*/ 5608320 w 5969000"/>
                <a:gd name="connsiteY4" fmla="*/ 351531 h 3506211"/>
                <a:gd name="connsiteX5" fmla="*/ 5715000 w 5969000"/>
                <a:gd name="connsiteY5" fmla="*/ 1931411 h 3506211"/>
                <a:gd name="connsiteX6" fmla="*/ 5872480 w 5969000"/>
                <a:gd name="connsiteY6" fmla="*/ 2058411 h 3506211"/>
                <a:gd name="connsiteX7" fmla="*/ 5969000 w 5969000"/>
                <a:gd name="connsiteY7" fmla="*/ 2789931 h 3506211"/>
                <a:gd name="connsiteX8" fmla="*/ 5826760 w 5969000"/>
                <a:gd name="connsiteY8" fmla="*/ 3267451 h 3506211"/>
                <a:gd name="connsiteX9" fmla="*/ 5420359 w 5969000"/>
                <a:gd name="connsiteY9" fmla="*/ 3282691 h 3506211"/>
                <a:gd name="connsiteX10" fmla="*/ 4378959 w 5969000"/>
                <a:gd name="connsiteY10" fmla="*/ 3353812 h 3506211"/>
                <a:gd name="connsiteX11" fmla="*/ 3865880 w 5969000"/>
                <a:gd name="connsiteY11" fmla="*/ 3506211 h 3506211"/>
                <a:gd name="connsiteX12" fmla="*/ 3510280 w 5969000"/>
                <a:gd name="connsiteY12" fmla="*/ 3404611 h 3506211"/>
                <a:gd name="connsiteX13" fmla="*/ 2458720 w 5969000"/>
                <a:gd name="connsiteY13" fmla="*/ 3155691 h 3506211"/>
                <a:gd name="connsiteX14" fmla="*/ 2016759 w 5969000"/>
                <a:gd name="connsiteY14" fmla="*/ 2896611 h 3506211"/>
                <a:gd name="connsiteX15" fmla="*/ 1031240 w 5969000"/>
                <a:gd name="connsiteY15" fmla="*/ 2708651 h 3506211"/>
                <a:gd name="connsiteX16" fmla="*/ 624840 w 5969000"/>
                <a:gd name="connsiteY16" fmla="*/ 2845811 h 3506211"/>
                <a:gd name="connsiteX17" fmla="*/ 91440 w 5969000"/>
                <a:gd name="connsiteY17" fmla="*/ 2683251 h 3506211"/>
                <a:gd name="connsiteX18" fmla="*/ 20320 w 5969000"/>
                <a:gd name="connsiteY18" fmla="*/ 2434331 h 3506211"/>
                <a:gd name="connsiteX19" fmla="*/ 0 w 5969000"/>
                <a:gd name="connsiteY19" fmla="*/ 2119371 h 3506211"/>
                <a:gd name="connsiteX20" fmla="*/ 223520 w 5969000"/>
                <a:gd name="connsiteY20" fmla="*/ 1519931 h 3506211"/>
                <a:gd name="connsiteX21" fmla="*/ 391160 w 5969000"/>
                <a:gd name="connsiteY21" fmla="*/ 493771 h 3506211"/>
                <a:gd name="connsiteX22" fmla="*/ 802640 w 5969000"/>
                <a:gd name="connsiteY22" fmla="*/ 173731 h 3506211"/>
                <a:gd name="connsiteX23" fmla="*/ 3180079 w 5969000"/>
                <a:gd name="connsiteY23" fmla="*/ 41651 h 3506211"/>
                <a:gd name="connsiteX24" fmla="*/ 3301762 w 5969000"/>
                <a:gd name="connsiteY24" fmla="*/ 49 h 3506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969000" h="3506211">
                  <a:moveTo>
                    <a:pt x="3301762" y="49"/>
                  </a:moveTo>
                  <a:cubicBezTo>
                    <a:pt x="3302741" y="-126"/>
                    <a:pt x="3307292" y="165"/>
                    <a:pt x="3317240" y="1011"/>
                  </a:cubicBezTo>
                  <a:cubicBezTo>
                    <a:pt x="3490807" y="8631"/>
                    <a:pt x="3522979" y="19639"/>
                    <a:pt x="3637279" y="46732"/>
                  </a:cubicBezTo>
                  <a:cubicBezTo>
                    <a:pt x="3868419" y="63665"/>
                    <a:pt x="4324772" y="46731"/>
                    <a:pt x="4653279" y="97531"/>
                  </a:cubicBezTo>
                  <a:cubicBezTo>
                    <a:pt x="4981786" y="148331"/>
                    <a:pt x="5449993" y="158491"/>
                    <a:pt x="5608320" y="351531"/>
                  </a:cubicBezTo>
                  <a:cubicBezTo>
                    <a:pt x="5659120" y="476838"/>
                    <a:pt x="5679440" y="1404784"/>
                    <a:pt x="5715000" y="1931411"/>
                  </a:cubicBezTo>
                  <a:lnTo>
                    <a:pt x="5872480" y="2058411"/>
                  </a:lnTo>
                  <a:cubicBezTo>
                    <a:pt x="5894493" y="2312411"/>
                    <a:pt x="5936827" y="2546091"/>
                    <a:pt x="5969000" y="2789931"/>
                  </a:cubicBezTo>
                  <a:cubicBezTo>
                    <a:pt x="5955453" y="2906771"/>
                    <a:pt x="5901267" y="3135371"/>
                    <a:pt x="5826760" y="3267451"/>
                  </a:cubicBezTo>
                  <a:cubicBezTo>
                    <a:pt x="5737013" y="3357198"/>
                    <a:pt x="5615939" y="3319098"/>
                    <a:pt x="5420359" y="3282691"/>
                  </a:cubicBezTo>
                  <a:cubicBezTo>
                    <a:pt x="5179059" y="3297085"/>
                    <a:pt x="4639732" y="3324179"/>
                    <a:pt x="4378959" y="3353812"/>
                  </a:cubicBezTo>
                  <a:cubicBezTo>
                    <a:pt x="4070772" y="3392759"/>
                    <a:pt x="4053840" y="3501978"/>
                    <a:pt x="3865880" y="3506211"/>
                  </a:cubicBezTo>
                  <a:lnTo>
                    <a:pt x="3510280" y="3404611"/>
                  </a:lnTo>
                  <a:lnTo>
                    <a:pt x="2458720" y="3155691"/>
                  </a:lnTo>
                  <a:cubicBezTo>
                    <a:pt x="2181013" y="3081184"/>
                    <a:pt x="2281766" y="2988898"/>
                    <a:pt x="2016759" y="2896611"/>
                  </a:cubicBezTo>
                  <a:cubicBezTo>
                    <a:pt x="1751752" y="2804324"/>
                    <a:pt x="1286086" y="2728971"/>
                    <a:pt x="1031240" y="2708651"/>
                  </a:cubicBezTo>
                  <a:cubicBezTo>
                    <a:pt x="792480" y="2708651"/>
                    <a:pt x="802640" y="2840731"/>
                    <a:pt x="624840" y="2845811"/>
                  </a:cubicBezTo>
                  <a:lnTo>
                    <a:pt x="91440" y="2683251"/>
                  </a:lnTo>
                  <a:lnTo>
                    <a:pt x="20320" y="2434331"/>
                  </a:lnTo>
                  <a:lnTo>
                    <a:pt x="0" y="2119371"/>
                  </a:lnTo>
                  <a:cubicBezTo>
                    <a:pt x="8467" y="1889078"/>
                    <a:pt x="93133" y="1658784"/>
                    <a:pt x="223520" y="1519931"/>
                  </a:cubicBezTo>
                  <a:cubicBezTo>
                    <a:pt x="267547" y="1171104"/>
                    <a:pt x="311573" y="725758"/>
                    <a:pt x="391160" y="493771"/>
                  </a:cubicBezTo>
                  <a:cubicBezTo>
                    <a:pt x="441960" y="376931"/>
                    <a:pt x="655320" y="234691"/>
                    <a:pt x="802640" y="173731"/>
                  </a:cubicBezTo>
                  <a:lnTo>
                    <a:pt x="3180079" y="41651"/>
                  </a:lnTo>
                  <a:cubicBezTo>
                    <a:pt x="3463078" y="25353"/>
                    <a:pt x="3294909" y="1276"/>
                    <a:pt x="3301762" y="49"/>
                  </a:cubicBezTo>
                  <a:close/>
                </a:path>
              </a:pathLst>
            </a:custGeom>
          </p:spPr>
        </p:pic>
        <p:pic>
          <p:nvPicPr>
            <p:cNvPr id="686" name="Picture 144"/>
            <p:cNvPicPr>
              <a:picLocks noChangeAspect="1"/>
            </p:cNvPicPr>
            <p:nvPr/>
          </p:nvPicPr>
          <p:blipFill>
            <a:blip r:embed="rId42"/>
            <a:srcRect l="1126" t="938" r="2621" b="5161"/>
            <a:stretch>
              <a:fillRect/>
            </a:stretch>
          </p:blipFill>
          <p:spPr>
            <a:xfrm>
              <a:off x="5313308" y="5001161"/>
              <a:ext cx="191437" cy="112451"/>
            </a:xfrm>
            <a:custGeom>
              <a:avLst/>
              <a:gdLst>
                <a:gd name="connsiteX0" fmla="*/ 3301762 w 5969000"/>
                <a:gd name="connsiteY0" fmla="*/ 49 h 3506211"/>
                <a:gd name="connsiteX1" fmla="*/ 3317240 w 5969000"/>
                <a:gd name="connsiteY1" fmla="*/ 1011 h 3506211"/>
                <a:gd name="connsiteX2" fmla="*/ 3637279 w 5969000"/>
                <a:gd name="connsiteY2" fmla="*/ 46732 h 3506211"/>
                <a:gd name="connsiteX3" fmla="*/ 4653279 w 5969000"/>
                <a:gd name="connsiteY3" fmla="*/ 97531 h 3506211"/>
                <a:gd name="connsiteX4" fmla="*/ 5608320 w 5969000"/>
                <a:gd name="connsiteY4" fmla="*/ 351531 h 3506211"/>
                <a:gd name="connsiteX5" fmla="*/ 5715000 w 5969000"/>
                <a:gd name="connsiteY5" fmla="*/ 1931411 h 3506211"/>
                <a:gd name="connsiteX6" fmla="*/ 5872480 w 5969000"/>
                <a:gd name="connsiteY6" fmla="*/ 2058411 h 3506211"/>
                <a:gd name="connsiteX7" fmla="*/ 5969000 w 5969000"/>
                <a:gd name="connsiteY7" fmla="*/ 2789931 h 3506211"/>
                <a:gd name="connsiteX8" fmla="*/ 5826760 w 5969000"/>
                <a:gd name="connsiteY8" fmla="*/ 3267451 h 3506211"/>
                <a:gd name="connsiteX9" fmla="*/ 5420359 w 5969000"/>
                <a:gd name="connsiteY9" fmla="*/ 3282691 h 3506211"/>
                <a:gd name="connsiteX10" fmla="*/ 4378959 w 5969000"/>
                <a:gd name="connsiteY10" fmla="*/ 3353812 h 3506211"/>
                <a:gd name="connsiteX11" fmla="*/ 3865880 w 5969000"/>
                <a:gd name="connsiteY11" fmla="*/ 3506211 h 3506211"/>
                <a:gd name="connsiteX12" fmla="*/ 3510280 w 5969000"/>
                <a:gd name="connsiteY12" fmla="*/ 3404611 h 3506211"/>
                <a:gd name="connsiteX13" fmla="*/ 2458720 w 5969000"/>
                <a:gd name="connsiteY13" fmla="*/ 3155691 h 3506211"/>
                <a:gd name="connsiteX14" fmla="*/ 2016759 w 5969000"/>
                <a:gd name="connsiteY14" fmla="*/ 2896611 h 3506211"/>
                <a:gd name="connsiteX15" fmla="*/ 1031240 w 5969000"/>
                <a:gd name="connsiteY15" fmla="*/ 2708651 h 3506211"/>
                <a:gd name="connsiteX16" fmla="*/ 624840 w 5969000"/>
                <a:gd name="connsiteY16" fmla="*/ 2845811 h 3506211"/>
                <a:gd name="connsiteX17" fmla="*/ 91440 w 5969000"/>
                <a:gd name="connsiteY17" fmla="*/ 2683251 h 3506211"/>
                <a:gd name="connsiteX18" fmla="*/ 20320 w 5969000"/>
                <a:gd name="connsiteY18" fmla="*/ 2434331 h 3506211"/>
                <a:gd name="connsiteX19" fmla="*/ 0 w 5969000"/>
                <a:gd name="connsiteY19" fmla="*/ 2119371 h 3506211"/>
                <a:gd name="connsiteX20" fmla="*/ 223520 w 5969000"/>
                <a:gd name="connsiteY20" fmla="*/ 1519931 h 3506211"/>
                <a:gd name="connsiteX21" fmla="*/ 391160 w 5969000"/>
                <a:gd name="connsiteY21" fmla="*/ 493771 h 3506211"/>
                <a:gd name="connsiteX22" fmla="*/ 802640 w 5969000"/>
                <a:gd name="connsiteY22" fmla="*/ 173731 h 3506211"/>
                <a:gd name="connsiteX23" fmla="*/ 3180079 w 5969000"/>
                <a:gd name="connsiteY23" fmla="*/ 41651 h 3506211"/>
                <a:gd name="connsiteX24" fmla="*/ 3301762 w 5969000"/>
                <a:gd name="connsiteY24" fmla="*/ 49 h 3506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969000" h="3506211">
                  <a:moveTo>
                    <a:pt x="3301762" y="49"/>
                  </a:moveTo>
                  <a:cubicBezTo>
                    <a:pt x="3302741" y="-126"/>
                    <a:pt x="3307292" y="165"/>
                    <a:pt x="3317240" y="1011"/>
                  </a:cubicBezTo>
                  <a:cubicBezTo>
                    <a:pt x="3490807" y="8631"/>
                    <a:pt x="3522979" y="19639"/>
                    <a:pt x="3637279" y="46732"/>
                  </a:cubicBezTo>
                  <a:cubicBezTo>
                    <a:pt x="3868419" y="63665"/>
                    <a:pt x="4324772" y="46731"/>
                    <a:pt x="4653279" y="97531"/>
                  </a:cubicBezTo>
                  <a:cubicBezTo>
                    <a:pt x="4981786" y="148331"/>
                    <a:pt x="5449993" y="158491"/>
                    <a:pt x="5608320" y="351531"/>
                  </a:cubicBezTo>
                  <a:cubicBezTo>
                    <a:pt x="5659120" y="476838"/>
                    <a:pt x="5679440" y="1404784"/>
                    <a:pt x="5715000" y="1931411"/>
                  </a:cubicBezTo>
                  <a:lnTo>
                    <a:pt x="5872480" y="2058411"/>
                  </a:lnTo>
                  <a:cubicBezTo>
                    <a:pt x="5894493" y="2312411"/>
                    <a:pt x="5936827" y="2546091"/>
                    <a:pt x="5969000" y="2789931"/>
                  </a:cubicBezTo>
                  <a:cubicBezTo>
                    <a:pt x="5955453" y="2906771"/>
                    <a:pt x="5901267" y="3135371"/>
                    <a:pt x="5826760" y="3267451"/>
                  </a:cubicBezTo>
                  <a:cubicBezTo>
                    <a:pt x="5737013" y="3357198"/>
                    <a:pt x="5615939" y="3319098"/>
                    <a:pt x="5420359" y="3282691"/>
                  </a:cubicBezTo>
                  <a:cubicBezTo>
                    <a:pt x="5179059" y="3297085"/>
                    <a:pt x="4639732" y="3324179"/>
                    <a:pt x="4378959" y="3353812"/>
                  </a:cubicBezTo>
                  <a:cubicBezTo>
                    <a:pt x="4070772" y="3392759"/>
                    <a:pt x="4053840" y="3501978"/>
                    <a:pt x="3865880" y="3506211"/>
                  </a:cubicBezTo>
                  <a:lnTo>
                    <a:pt x="3510280" y="3404611"/>
                  </a:lnTo>
                  <a:lnTo>
                    <a:pt x="2458720" y="3155691"/>
                  </a:lnTo>
                  <a:cubicBezTo>
                    <a:pt x="2181013" y="3081184"/>
                    <a:pt x="2281766" y="2988898"/>
                    <a:pt x="2016759" y="2896611"/>
                  </a:cubicBezTo>
                  <a:cubicBezTo>
                    <a:pt x="1751752" y="2804324"/>
                    <a:pt x="1286086" y="2728971"/>
                    <a:pt x="1031240" y="2708651"/>
                  </a:cubicBezTo>
                  <a:cubicBezTo>
                    <a:pt x="792480" y="2708651"/>
                    <a:pt x="802640" y="2840731"/>
                    <a:pt x="624840" y="2845811"/>
                  </a:cubicBezTo>
                  <a:lnTo>
                    <a:pt x="91440" y="2683251"/>
                  </a:lnTo>
                  <a:lnTo>
                    <a:pt x="20320" y="2434331"/>
                  </a:lnTo>
                  <a:lnTo>
                    <a:pt x="0" y="2119371"/>
                  </a:lnTo>
                  <a:cubicBezTo>
                    <a:pt x="8467" y="1889078"/>
                    <a:pt x="93133" y="1658784"/>
                    <a:pt x="223520" y="1519931"/>
                  </a:cubicBezTo>
                  <a:cubicBezTo>
                    <a:pt x="267547" y="1171104"/>
                    <a:pt x="311573" y="725758"/>
                    <a:pt x="391160" y="493771"/>
                  </a:cubicBezTo>
                  <a:cubicBezTo>
                    <a:pt x="441960" y="376931"/>
                    <a:pt x="655320" y="234691"/>
                    <a:pt x="802640" y="173731"/>
                  </a:cubicBezTo>
                  <a:lnTo>
                    <a:pt x="3180079" y="41651"/>
                  </a:lnTo>
                  <a:cubicBezTo>
                    <a:pt x="3463078" y="25353"/>
                    <a:pt x="3294909" y="1276"/>
                    <a:pt x="3301762" y="49"/>
                  </a:cubicBezTo>
                  <a:close/>
                </a:path>
              </a:pathLst>
            </a:custGeom>
          </p:spPr>
        </p:pic>
        <p:pic>
          <p:nvPicPr>
            <p:cNvPr id="687" name="Picture 144"/>
            <p:cNvPicPr>
              <a:picLocks noChangeAspect="1"/>
            </p:cNvPicPr>
            <p:nvPr/>
          </p:nvPicPr>
          <p:blipFill>
            <a:blip r:embed="rId42"/>
            <a:srcRect l="1126" t="938" r="2621" b="5161"/>
            <a:stretch>
              <a:fillRect/>
            </a:stretch>
          </p:blipFill>
          <p:spPr>
            <a:xfrm rot="20626305">
              <a:off x="3944086" y="4454626"/>
              <a:ext cx="164047" cy="96362"/>
            </a:xfrm>
            <a:custGeom>
              <a:avLst/>
              <a:gdLst>
                <a:gd name="connsiteX0" fmla="*/ 3301762 w 5969000"/>
                <a:gd name="connsiteY0" fmla="*/ 49 h 3506211"/>
                <a:gd name="connsiteX1" fmla="*/ 3317240 w 5969000"/>
                <a:gd name="connsiteY1" fmla="*/ 1011 h 3506211"/>
                <a:gd name="connsiteX2" fmla="*/ 3637279 w 5969000"/>
                <a:gd name="connsiteY2" fmla="*/ 46732 h 3506211"/>
                <a:gd name="connsiteX3" fmla="*/ 4653279 w 5969000"/>
                <a:gd name="connsiteY3" fmla="*/ 97531 h 3506211"/>
                <a:gd name="connsiteX4" fmla="*/ 5608320 w 5969000"/>
                <a:gd name="connsiteY4" fmla="*/ 351531 h 3506211"/>
                <a:gd name="connsiteX5" fmla="*/ 5715000 w 5969000"/>
                <a:gd name="connsiteY5" fmla="*/ 1931411 h 3506211"/>
                <a:gd name="connsiteX6" fmla="*/ 5872480 w 5969000"/>
                <a:gd name="connsiteY6" fmla="*/ 2058411 h 3506211"/>
                <a:gd name="connsiteX7" fmla="*/ 5969000 w 5969000"/>
                <a:gd name="connsiteY7" fmla="*/ 2789931 h 3506211"/>
                <a:gd name="connsiteX8" fmla="*/ 5826760 w 5969000"/>
                <a:gd name="connsiteY8" fmla="*/ 3267451 h 3506211"/>
                <a:gd name="connsiteX9" fmla="*/ 5420359 w 5969000"/>
                <a:gd name="connsiteY9" fmla="*/ 3282691 h 3506211"/>
                <a:gd name="connsiteX10" fmla="*/ 4378959 w 5969000"/>
                <a:gd name="connsiteY10" fmla="*/ 3353812 h 3506211"/>
                <a:gd name="connsiteX11" fmla="*/ 3865880 w 5969000"/>
                <a:gd name="connsiteY11" fmla="*/ 3506211 h 3506211"/>
                <a:gd name="connsiteX12" fmla="*/ 3510280 w 5969000"/>
                <a:gd name="connsiteY12" fmla="*/ 3404611 h 3506211"/>
                <a:gd name="connsiteX13" fmla="*/ 2458720 w 5969000"/>
                <a:gd name="connsiteY13" fmla="*/ 3155691 h 3506211"/>
                <a:gd name="connsiteX14" fmla="*/ 2016759 w 5969000"/>
                <a:gd name="connsiteY14" fmla="*/ 2896611 h 3506211"/>
                <a:gd name="connsiteX15" fmla="*/ 1031240 w 5969000"/>
                <a:gd name="connsiteY15" fmla="*/ 2708651 h 3506211"/>
                <a:gd name="connsiteX16" fmla="*/ 624840 w 5969000"/>
                <a:gd name="connsiteY16" fmla="*/ 2845811 h 3506211"/>
                <a:gd name="connsiteX17" fmla="*/ 91440 w 5969000"/>
                <a:gd name="connsiteY17" fmla="*/ 2683251 h 3506211"/>
                <a:gd name="connsiteX18" fmla="*/ 20320 w 5969000"/>
                <a:gd name="connsiteY18" fmla="*/ 2434331 h 3506211"/>
                <a:gd name="connsiteX19" fmla="*/ 0 w 5969000"/>
                <a:gd name="connsiteY19" fmla="*/ 2119371 h 3506211"/>
                <a:gd name="connsiteX20" fmla="*/ 223520 w 5969000"/>
                <a:gd name="connsiteY20" fmla="*/ 1519931 h 3506211"/>
                <a:gd name="connsiteX21" fmla="*/ 391160 w 5969000"/>
                <a:gd name="connsiteY21" fmla="*/ 493771 h 3506211"/>
                <a:gd name="connsiteX22" fmla="*/ 802640 w 5969000"/>
                <a:gd name="connsiteY22" fmla="*/ 173731 h 3506211"/>
                <a:gd name="connsiteX23" fmla="*/ 3180079 w 5969000"/>
                <a:gd name="connsiteY23" fmla="*/ 41651 h 3506211"/>
                <a:gd name="connsiteX24" fmla="*/ 3301762 w 5969000"/>
                <a:gd name="connsiteY24" fmla="*/ 49 h 3506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969000" h="3506211">
                  <a:moveTo>
                    <a:pt x="3301762" y="49"/>
                  </a:moveTo>
                  <a:cubicBezTo>
                    <a:pt x="3302741" y="-126"/>
                    <a:pt x="3307292" y="165"/>
                    <a:pt x="3317240" y="1011"/>
                  </a:cubicBezTo>
                  <a:cubicBezTo>
                    <a:pt x="3490807" y="8631"/>
                    <a:pt x="3522979" y="19639"/>
                    <a:pt x="3637279" y="46732"/>
                  </a:cubicBezTo>
                  <a:cubicBezTo>
                    <a:pt x="3868419" y="63665"/>
                    <a:pt x="4324772" y="46731"/>
                    <a:pt x="4653279" y="97531"/>
                  </a:cubicBezTo>
                  <a:cubicBezTo>
                    <a:pt x="4981786" y="148331"/>
                    <a:pt x="5449993" y="158491"/>
                    <a:pt x="5608320" y="351531"/>
                  </a:cubicBezTo>
                  <a:cubicBezTo>
                    <a:pt x="5659120" y="476838"/>
                    <a:pt x="5679440" y="1404784"/>
                    <a:pt x="5715000" y="1931411"/>
                  </a:cubicBezTo>
                  <a:lnTo>
                    <a:pt x="5872480" y="2058411"/>
                  </a:lnTo>
                  <a:cubicBezTo>
                    <a:pt x="5894493" y="2312411"/>
                    <a:pt x="5936827" y="2546091"/>
                    <a:pt x="5969000" y="2789931"/>
                  </a:cubicBezTo>
                  <a:cubicBezTo>
                    <a:pt x="5955453" y="2906771"/>
                    <a:pt x="5901267" y="3135371"/>
                    <a:pt x="5826760" y="3267451"/>
                  </a:cubicBezTo>
                  <a:cubicBezTo>
                    <a:pt x="5737013" y="3357198"/>
                    <a:pt x="5615939" y="3319098"/>
                    <a:pt x="5420359" y="3282691"/>
                  </a:cubicBezTo>
                  <a:cubicBezTo>
                    <a:pt x="5179059" y="3297085"/>
                    <a:pt x="4639732" y="3324179"/>
                    <a:pt x="4378959" y="3353812"/>
                  </a:cubicBezTo>
                  <a:cubicBezTo>
                    <a:pt x="4070772" y="3392759"/>
                    <a:pt x="4053840" y="3501978"/>
                    <a:pt x="3865880" y="3506211"/>
                  </a:cubicBezTo>
                  <a:lnTo>
                    <a:pt x="3510280" y="3404611"/>
                  </a:lnTo>
                  <a:lnTo>
                    <a:pt x="2458720" y="3155691"/>
                  </a:lnTo>
                  <a:cubicBezTo>
                    <a:pt x="2181013" y="3081184"/>
                    <a:pt x="2281766" y="2988898"/>
                    <a:pt x="2016759" y="2896611"/>
                  </a:cubicBezTo>
                  <a:cubicBezTo>
                    <a:pt x="1751752" y="2804324"/>
                    <a:pt x="1286086" y="2728971"/>
                    <a:pt x="1031240" y="2708651"/>
                  </a:cubicBezTo>
                  <a:cubicBezTo>
                    <a:pt x="792480" y="2708651"/>
                    <a:pt x="802640" y="2840731"/>
                    <a:pt x="624840" y="2845811"/>
                  </a:cubicBezTo>
                  <a:lnTo>
                    <a:pt x="91440" y="2683251"/>
                  </a:lnTo>
                  <a:lnTo>
                    <a:pt x="20320" y="2434331"/>
                  </a:lnTo>
                  <a:lnTo>
                    <a:pt x="0" y="2119371"/>
                  </a:lnTo>
                  <a:cubicBezTo>
                    <a:pt x="8467" y="1889078"/>
                    <a:pt x="93133" y="1658784"/>
                    <a:pt x="223520" y="1519931"/>
                  </a:cubicBezTo>
                  <a:cubicBezTo>
                    <a:pt x="267547" y="1171104"/>
                    <a:pt x="311573" y="725758"/>
                    <a:pt x="391160" y="493771"/>
                  </a:cubicBezTo>
                  <a:cubicBezTo>
                    <a:pt x="441960" y="376931"/>
                    <a:pt x="655320" y="234691"/>
                    <a:pt x="802640" y="173731"/>
                  </a:cubicBezTo>
                  <a:lnTo>
                    <a:pt x="3180079" y="41651"/>
                  </a:lnTo>
                  <a:cubicBezTo>
                    <a:pt x="3463078" y="25353"/>
                    <a:pt x="3294909" y="1276"/>
                    <a:pt x="3301762" y="49"/>
                  </a:cubicBezTo>
                  <a:close/>
                </a:path>
              </a:pathLst>
            </a:custGeom>
          </p:spPr>
        </p:pic>
        <p:pic>
          <p:nvPicPr>
            <p:cNvPr id="688" name="Picture 144"/>
            <p:cNvPicPr>
              <a:picLocks noChangeAspect="1"/>
            </p:cNvPicPr>
            <p:nvPr/>
          </p:nvPicPr>
          <p:blipFill>
            <a:blip r:embed="rId42"/>
            <a:srcRect l="1126" t="938" r="2621" b="5161"/>
            <a:stretch>
              <a:fillRect/>
            </a:stretch>
          </p:blipFill>
          <p:spPr>
            <a:xfrm rot="2693921">
              <a:off x="2213052" y="4712071"/>
              <a:ext cx="235751" cy="138481"/>
            </a:xfrm>
            <a:custGeom>
              <a:avLst/>
              <a:gdLst>
                <a:gd name="connsiteX0" fmla="*/ 3301762 w 5969000"/>
                <a:gd name="connsiteY0" fmla="*/ 49 h 3506211"/>
                <a:gd name="connsiteX1" fmla="*/ 3317240 w 5969000"/>
                <a:gd name="connsiteY1" fmla="*/ 1011 h 3506211"/>
                <a:gd name="connsiteX2" fmla="*/ 3637279 w 5969000"/>
                <a:gd name="connsiteY2" fmla="*/ 46732 h 3506211"/>
                <a:gd name="connsiteX3" fmla="*/ 4653279 w 5969000"/>
                <a:gd name="connsiteY3" fmla="*/ 97531 h 3506211"/>
                <a:gd name="connsiteX4" fmla="*/ 5608320 w 5969000"/>
                <a:gd name="connsiteY4" fmla="*/ 351531 h 3506211"/>
                <a:gd name="connsiteX5" fmla="*/ 5715000 w 5969000"/>
                <a:gd name="connsiteY5" fmla="*/ 1931411 h 3506211"/>
                <a:gd name="connsiteX6" fmla="*/ 5872480 w 5969000"/>
                <a:gd name="connsiteY6" fmla="*/ 2058411 h 3506211"/>
                <a:gd name="connsiteX7" fmla="*/ 5969000 w 5969000"/>
                <a:gd name="connsiteY7" fmla="*/ 2789931 h 3506211"/>
                <a:gd name="connsiteX8" fmla="*/ 5826760 w 5969000"/>
                <a:gd name="connsiteY8" fmla="*/ 3267451 h 3506211"/>
                <a:gd name="connsiteX9" fmla="*/ 5420359 w 5969000"/>
                <a:gd name="connsiteY9" fmla="*/ 3282691 h 3506211"/>
                <a:gd name="connsiteX10" fmla="*/ 4378959 w 5969000"/>
                <a:gd name="connsiteY10" fmla="*/ 3353812 h 3506211"/>
                <a:gd name="connsiteX11" fmla="*/ 3865880 w 5969000"/>
                <a:gd name="connsiteY11" fmla="*/ 3506211 h 3506211"/>
                <a:gd name="connsiteX12" fmla="*/ 3510280 w 5969000"/>
                <a:gd name="connsiteY12" fmla="*/ 3404611 h 3506211"/>
                <a:gd name="connsiteX13" fmla="*/ 2458720 w 5969000"/>
                <a:gd name="connsiteY13" fmla="*/ 3155691 h 3506211"/>
                <a:gd name="connsiteX14" fmla="*/ 2016759 w 5969000"/>
                <a:gd name="connsiteY14" fmla="*/ 2896611 h 3506211"/>
                <a:gd name="connsiteX15" fmla="*/ 1031240 w 5969000"/>
                <a:gd name="connsiteY15" fmla="*/ 2708651 h 3506211"/>
                <a:gd name="connsiteX16" fmla="*/ 624840 w 5969000"/>
                <a:gd name="connsiteY16" fmla="*/ 2845811 h 3506211"/>
                <a:gd name="connsiteX17" fmla="*/ 91440 w 5969000"/>
                <a:gd name="connsiteY17" fmla="*/ 2683251 h 3506211"/>
                <a:gd name="connsiteX18" fmla="*/ 20320 w 5969000"/>
                <a:gd name="connsiteY18" fmla="*/ 2434331 h 3506211"/>
                <a:gd name="connsiteX19" fmla="*/ 0 w 5969000"/>
                <a:gd name="connsiteY19" fmla="*/ 2119371 h 3506211"/>
                <a:gd name="connsiteX20" fmla="*/ 223520 w 5969000"/>
                <a:gd name="connsiteY20" fmla="*/ 1519931 h 3506211"/>
                <a:gd name="connsiteX21" fmla="*/ 391160 w 5969000"/>
                <a:gd name="connsiteY21" fmla="*/ 493771 h 3506211"/>
                <a:gd name="connsiteX22" fmla="*/ 802640 w 5969000"/>
                <a:gd name="connsiteY22" fmla="*/ 173731 h 3506211"/>
                <a:gd name="connsiteX23" fmla="*/ 3180079 w 5969000"/>
                <a:gd name="connsiteY23" fmla="*/ 41651 h 3506211"/>
                <a:gd name="connsiteX24" fmla="*/ 3301762 w 5969000"/>
                <a:gd name="connsiteY24" fmla="*/ 49 h 3506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969000" h="3506211">
                  <a:moveTo>
                    <a:pt x="3301762" y="49"/>
                  </a:moveTo>
                  <a:cubicBezTo>
                    <a:pt x="3302741" y="-126"/>
                    <a:pt x="3307292" y="165"/>
                    <a:pt x="3317240" y="1011"/>
                  </a:cubicBezTo>
                  <a:cubicBezTo>
                    <a:pt x="3490807" y="8631"/>
                    <a:pt x="3522979" y="19639"/>
                    <a:pt x="3637279" y="46732"/>
                  </a:cubicBezTo>
                  <a:cubicBezTo>
                    <a:pt x="3868419" y="63665"/>
                    <a:pt x="4324772" y="46731"/>
                    <a:pt x="4653279" y="97531"/>
                  </a:cubicBezTo>
                  <a:cubicBezTo>
                    <a:pt x="4981786" y="148331"/>
                    <a:pt x="5449993" y="158491"/>
                    <a:pt x="5608320" y="351531"/>
                  </a:cubicBezTo>
                  <a:cubicBezTo>
                    <a:pt x="5659120" y="476838"/>
                    <a:pt x="5679440" y="1404784"/>
                    <a:pt x="5715000" y="1931411"/>
                  </a:cubicBezTo>
                  <a:lnTo>
                    <a:pt x="5872480" y="2058411"/>
                  </a:lnTo>
                  <a:cubicBezTo>
                    <a:pt x="5894493" y="2312411"/>
                    <a:pt x="5936827" y="2546091"/>
                    <a:pt x="5969000" y="2789931"/>
                  </a:cubicBezTo>
                  <a:cubicBezTo>
                    <a:pt x="5955453" y="2906771"/>
                    <a:pt x="5901267" y="3135371"/>
                    <a:pt x="5826760" y="3267451"/>
                  </a:cubicBezTo>
                  <a:cubicBezTo>
                    <a:pt x="5737013" y="3357198"/>
                    <a:pt x="5615939" y="3319098"/>
                    <a:pt x="5420359" y="3282691"/>
                  </a:cubicBezTo>
                  <a:cubicBezTo>
                    <a:pt x="5179059" y="3297085"/>
                    <a:pt x="4639732" y="3324179"/>
                    <a:pt x="4378959" y="3353812"/>
                  </a:cubicBezTo>
                  <a:cubicBezTo>
                    <a:pt x="4070772" y="3392759"/>
                    <a:pt x="4053840" y="3501978"/>
                    <a:pt x="3865880" y="3506211"/>
                  </a:cubicBezTo>
                  <a:lnTo>
                    <a:pt x="3510280" y="3404611"/>
                  </a:lnTo>
                  <a:lnTo>
                    <a:pt x="2458720" y="3155691"/>
                  </a:lnTo>
                  <a:cubicBezTo>
                    <a:pt x="2181013" y="3081184"/>
                    <a:pt x="2281766" y="2988898"/>
                    <a:pt x="2016759" y="2896611"/>
                  </a:cubicBezTo>
                  <a:cubicBezTo>
                    <a:pt x="1751752" y="2804324"/>
                    <a:pt x="1286086" y="2728971"/>
                    <a:pt x="1031240" y="2708651"/>
                  </a:cubicBezTo>
                  <a:cubicBezTo>
                    <a:pt x="792480" y="2708651"/>
                    <a:pt x="802640" y="2840731"/>
                    <a:pt x="624840" y="2845811"/>
                  </a:cubicBezTo>
                  <a:lnTo>
                    <a:pt x="91440" y="2683251"/>
                  </a:lnTo>
                  <a:lnTo>
                    <a:pt x="20320" y="2434331"/>
                  </a:lnTo>
                  <a:lnTo>
                    <a:pt x="0" y="2119371"/>
                  </a:lnTo>
                  <a:cubicBezTo>
                    <a:pt x="8467" y="1889078"/>
                    <a:pt x="93133" y="1658784"/>
                    <a:pt x="223520" y="1519931"/>
                  </a:cubicBezTo>
                  <a:cubicBezTo>
                    <a:pt x="267547" y="1171104"/>
                    <a:pt x="311573" y="725758"/>
                    <a:pt x="391160" y="493771"/>
                  </a:cubicBezTo>
                  <a:cubicBezTo>
                    <a:pt x="441960" y="376931"/>
                    <a:pt x="655320" y="234691"/>
                    <a:pt x="802640" y="173731"/>
                  </a:cubicBezTo>
                  <a:lnTo>
                    <a:pt x="3180079" y="41651"/>
                  </a:lnTo>
                  <a:cubicBezTo>
                    <a:pt x="3463078" y="25353"/>
                    <a:pt x="3294909" y="1276"/>
                    <a:pt x="3301762" y="49"/>
                  </a:cubicBezTo>
                  <a:close/>
                </a:path>
              </a:pathLst>
            </a:custGeom>
          </p:spPr>
        </p:pic>
        <p:pic>
          <p:nvPicPr>
            <p:cNvPr id="689" name="Picture 144"/>
            <p:cNvPicPr>
              <a:picLocks noChangeAspect="1"/>
            </p:cNvPicPr>
            <p:nvPr/>
          </p:nvPicPr>
          <p:blipFill>
            <a:blip r:embed="rId42"/>
            <a:srcRect l="1126" t="938" r="2621" b="5161"/>
            <a:stretch>
              <a:fillRect/>
            </a:stretch>
          </p:blipFill>
          <p:spPr>
            <a:xfrm rot="21137840">
              <a:off x="3970213" y="3580252"/>
              <a:ext cx="180384" cy="105958"/>
            </a:xfrm>
            <a:custGeom>
              <a:avLst/>
              <a:gdLst>
                <a:gd name="connsiteX0" fmla="*/ 3301762 w 5969000"/>
                <a:gd name="connsiteY0" fmla="*/ 49 h 3506211"/>
                <a:gd name="connsiteX1" fmla="*/ 3317240 w 5969000"/>
                <a:gd name="connsiteY1" fmla="*/ 1011 h 3506211"/>
                <a:gd name="connsiteX2" fmla="*/ 3637279 w 5969000"/>
                <a:gd name="connsiteY2" fmla="*/ 46732 h 3506211"/>
                <a:gd name="connsiteX3" fmla="*/ 4653279 w 5969000"/>
                <a:gd name="connsiteY3" fmla="*/ 97531 h 3506211"/>
                <a:gd name="connsiteX4" fmla="*/ 5608320 w 5969000"/>
                <a:gd name="connsiteY4" fmla="*/ 351531 h 3506211"/>
                <a:gd name="connsiteX5" fmla="*/ 5715000 w 5969000"/>
                <a:gd name="connsiteY5" fmla="*/ 1931411 h 3506211"/>
                <a:gd name="connsiteX6" fmla="*/ 5872480 w 5969000"/>
                <a:gd name="connsiteY6" fmla="*/ 2058411 h 3506211"/>
                <a:gd name="connsiteX7" fmla="*/ 5969000 w 5969000"/>
                <a:gd name="connsiteY7" fmla="*/ 2789931 h 3506211"/>
                <a:gd name="connsiteX8" fmla="*/ 5826760 w 5969000"/>
                <a:gd name="connsiteY8" fmla="*/ 3267451 h 3506211"/>
                <a:gd name="connsiteX9" fmla="*/ 5420359 w 5969000"/>
                <a:gd name="connsiteY9" fmla="*/ 3282691 h 3506211"/>
                <a:gd name="connsiteX10" fmla="*/ 4378959 w 5969000"/>
                <a:gd name="connsiteY10" fmla="*/ 3353812 h 3506211"/>
                <a:gd name="connsiteX11" fmla="*/ 3865880 w 5969000"/>
                <a:gd name="connsiteY11" fmla="*/ 3506211 h 3506211"/>
                <a:gd name="connsiteX12" fmla="*/ 3510280 w 5969000"/>
                <a:gd name="connsiteY12" fmla="*/ 3404611 h 3506211"/>
                <a:gd name="connsiteX13" fmla="*/ 2458720 w 5969000"/>
                <a:gd name="connsiteY13" fmla="*/ 3155691 h 3506211"/>
                <a:gd name="connsiteX14" fmla="*/ 2016759 w 5969000"/>
                <a:gd name="connsiteY14" fmla="*/ 2896611 h 3506211"/>
                <a:gd name="connsiteX15" fmla="*/ 1031240 w 5969000"/>
                <a:gd name="connsiteY15" fmla="*/ 2708651 h 3506211"/>
                <a:gd name="connsiteX16" fmla="*/ 624840 w 5969000"/>
                <a:gd name="connsiteY16" fmla="*/ 2845811 h 3506211"/>
                <a:gd name="connsiteX17" fmla="*/ 91440 w 5969000"/>
                <a:gd name="connsiteY17" fmla="*/ 2683251 h 3506211"/>
                <a:gd name="connsiteX18" fmla="*/ 20320 w 5969000"/>
                <a:gd name="connsiteY18" fmla="*/ 2434331 h 3506211"/>
                <a:gd name="connsiteX19" fmla="*/ 0 w 5969000"/>
                <a:gd name="connsiteY19" fmla="*/ 2119371 h 3506211"/>
                <a:gd name="connsiteX20" fmla="*/ 223520 w 5969000"/>
                <a:gd name="connsiteY20" fmla="*/ 1519931 h 3506211"/>
                <a:gd name="connsiteX21" fmla="*/ 391160 w 5969000"/>
                <a:gd name="connsiteY21" fmla="*/ 493771 h 3506211"/>
                <a:gd name="connsiteX22" fmla="*/ 802640 w 5969000"/>
                <a:gd name="connsiteY22" fmla="*/ 173731 h 3506211"/>
                <a:gd name="connsiteX23" fmla="*/ 3180079 w 5969000"/>
                <a:gd name="connsiteY23" fmla="*/ 41651 h 3506211"/>
                <a:gd name="connsiteX24" fmla="*/ 3301762 w 5969000"/>
                <a:gd name="connsiteY24" fmla="*/ 49 h 3506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969000" h="3506211">
                  <a:moveTo>
                    <a:pt x="3301762" y="49"/>
                  </a:moveTo>
                  <a:cubicBezTo>
                    <a:pt x="3302741" y="-126"/>
                    <a:pt x="3307292" y="165"/>
                    <a:pt x="3317240" y="1011"/>
                  </a:cubicBezTo>
                  <a:cubicBezTo>
                    <a:pt x="3490807" y="8631"/>
                    <a:pt x="3522979" y="19639"/>
                    <a:pt x="3637279" y="46732"/>
                  </a:cubicBezTo>
                  <a:cubicBezTo>
                    <a:pt x="3868419" y="63665"/>
                    <a:pt x="4324772" y="46731"/>
                    <a:pt x="4653279" y="97531"/>
                  </a:cubicBezTo>
                  <a:cubicBezTo>
                    <a:pt x="4981786" y="148331"/>
                    <a:pt x="5449993" y="158491"/>
                    <a:pt x="5608320" y="351531"/>
                  </a:cubicBezTo>
                  <a:cubicBezTo>
                    <a:pt x="5659120" y="476838"/>
                    <a:pt x="5679440" y="1404784"/>
                    <a:pt x="5715000" y="1931411"/>
                  </a:cubicBezTo>
                  <a:lnTo>
                    <a:pt x="5872480" y="2058411"/>
                  </a:lnTo>
                  <a:cubicBezTo>
                    <a:pt x="5894493" y="2312411"/>
                    <a:pt x="5936827" y="2546091"/>
                    <a:pt x="5969000" y="2789931"/>
                  </a:cubicBezTo>
                  <a:cubicBezTo>
                    <a:pt x="5955453" y="2906771"/>
                    <a:pt x="5901267" y="3135371"/>
                    <a:pt x="5826760" y="3267451"/>
                  </a:cubicBezTo>
                  <a:cubicBezTo>
                    <a:pt x="5737013" y="3357198"/>
                    <a:pt x="5615939" y="3319098"/>
                    <a:pt x="5420359" y="3282691"/>
                  </a:cubicBezTo>
                  <a:cubicBezTo>
                    <a:pt x="5179059" y="3297085"/>
                    <a:pt x="4639732" y="3324179"/>
                    <a:pt x="4378959" y="3353812"/>
                  </a:cubicBezTo>
                  <a:cubicBezTo>
                    <a:pt x="4070772" y="3392759"/>
                    <a:pt x="4053840" y="3501978"/>
                    <a:pt x="3865880" y="3506211"/>
                  </a:cubicBezTo>
                  <a:lnTo>
                    <a:pt x="3510280" y="3404611"/>
                  </a:lnTo>
                  <a:lnTo>
                    <a:pt x="2458720" y="3155691"/>
                  </a:lnTo>
                  <a:cubicBezTo>
                    <a:pt x="2181013" y="3081184"/>
                    <a:pt x="2281766" y="2988898"/>
                    <a:pt x="2016759" y="2896611"/>
                  </a:cubicBezTo>
                  <a:cubicBezTo>
                    <a:pt x="1751752" y="2804324"/>
                    <a:pt x="1286086" y="2728971"/>
                    <a:pt x="1031240" y="2708651"/>
                  </a:cubicBezTo>
                  <a:cubicBezTo>
                    <a:pt x="792480" y="2708651"/>
                    <a:pt x="802640" y="2840731"/>
                    <a:pt x="624840" y="2845811"/>
                  </a:cubicBezTo>
                  <a:lnTo>
                    <a:pt x="91440" y="2683251"/>
                  </a:lnTo>
                  <a:lnTo>
                    <a:pt x="20320" y="2434331"/>
                  </a:lnTo>
                  <a:lnTo>
                    <a:pt x="0" y="2119371"/>
                  </a:lnTo>
                  <a:cubicBezTo>
                    <a:pt x="8467" y="1889078"/>
                    <a:pt x="93133" y="1658784"/>
                    <a:pt x="223520" y="1519931"/>
                  </a:cubicBezTo>
                  <a:cubicBezTo>
                    <a:pt x="267547" y="1171104"/>
                    <a:pt x="311573" y="725758"/>
                    <a:pt x="391160" y="493771"/>
                  </a:cubicBezTo>
                  <a:cubicBezTo>
                    <a:pt x="441960" y="376931"/>
                    <a:pt x="655320" y="234691"/>
                    <a:pt x="802640" y="173731"/>
                  </a:cubicBezTo>
                  <a:lnTo>
                    <a:pt x="3180079" y="41651"/>
                  </a:lnTo>
                  <a:cubicBezTo>
                    <a:pt x="3463078" y="25353"/>
                    <a:pt x="3294909" y="1276"/>
                    <a:pt x="3301762" y="49"/>
                  </a:cubicBezTo>
                  <a:close/>
                </a:path>
              </a:pathLst>
            </a:custGeom>
          </p:spPr>
        </p:pic>
        <p:pic>
          <p:nvPicPr>
            <p:cNvPr id="690" name="Picture 68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6130691" y="4255446"/>
              <a:ext cx="97279" cy="121889"/>
            </a:xfrm>
            <a:prstGeom prst="rect">
              <a:avLst/>
            </a:prstGeom>
          </p:spPr>
        </p:pic>
        <p:pic>
          <p:nvPicPr>
            <p:cNvPr id="691" name="Picture 690"/>
            <p:cNvPicPr>
              <a:picLocks noChangeAspect="1"/>
            </p:cNvPicPr>
            <p:nvPr/>
          </p:nvPicPr>
          <p:blipFill>
            <a:blip r:embed="rId9"/>
            <a:stretch>
              <a:fillRect/>
            </a:stretch>
          </p:blipFill>
          <p:spPr>
            <a:xfrm>
              <a:off x="6205697" y="4008595"/>
              <a:ext cx="261686" cy="599964"/>
            </a:xfrm>
            <a:prstGeom prst="rect">
              <a:avLst/>
            </a:prstGeom>
          </p:spPr>
        </p:pic>
        <p:pic>
          <p:nvPicPr>
            <p:cNvPr id="692" name="Picture 69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482101" y="4432602"/>
              <a:ext cx="43039" cy="117107"/>
            </a:xfrm>
            <a:prstGeom prst="rect">
              <a:avLst/>
            </a:prstGeom>
          </p:spPr>
        </p:pic>
        <p:pic>
          <p:nvPicPr>
            <p:cNvPr id="693" name="Picture 69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6453603" y="4518755"/>
              <a:ext cx="97279" cy="121889"/>
            </a:xfrm>
            <a:prstGeom prst="rect">
              <a:avLst/>
            </a:prstGeom>
          </p:spPr>
        </p:pic>
        <p:pic>
          <p:nvPicPr>
            <p:cNvPr id="694" name="Picture 69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6439671" y="4612633"/>
              <a:ext cx="97279" cy="121889"/>
            </a:xfrm>
            <a:prstGeom prst="rect">
              <a:avLst/>
            </a:prstGeom>
          </p:spPr>
        </p:pic>
        <p:pic>
          <p:nvPicPr>
            <p:cNvPr id="695" name="Picture 69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6342927" y="4568183"/>
              <a:ext cx="97279" cy="121889"/>
            </a:xfrm>
            <a:prstGeom prst="rect">
              <a:avLst/>
            </a:prstGeom>
          </p:spPr>
        </p:pic>
        <p:pic>
          <p:nvPicPr>
            <p:cNvPr id="696" name="Picture 69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6056558" y="4295133"/>
              <a:ext cx="97279" cy="121889"/>
            </a:xfrm>
            <a:prstGeom prst="rect">
              <a:avLst/>
            </a:prstGeom>
          </p:spPr>
        </p:pic>
        <p:pic>
          <p:nvPicPr>
            <p:cNvPr id="697" name="Picture 69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5975781" y="4344345"/>
              <a:ext cx="97279" cy="121889"/>
            </a:xfrm>
            <a:prstGeom prst="rect">
              <a:avLst/>
            </a:prstGeom>
          </p:spPr>
        </p:pic>
        <p:pic>
          <p:nvPicPr>
            <p:cNvPr id="698" name="Picture 69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5329754" y="4676333"/>
              <a:ext cx="97279" cy="121889"/>
            </a:xfrm>
            <a:prstGeom prst="rect">
              <a:avLst/>
            </a:prstGeom>
          </p:spPr>
        </p:pic>
        <p:pic>
          <p:nvPicPr>
            <p:cNvPr id="699" name="Picture 69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5253926" y="4723958"/>
              <a:ext cx="97279" cy="121889"/>
            </a:xfrm>
            <a:prstGeom prst="rect">
              <a:avLst/>
            </a:prstGeom>
          </p:spPr>
        </p:pic>
        <p:pic>
          <p:nvPicPr>
            <p:cNvPr id="700" name="Picture 69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5167175" y="4762058"/>
              <a:ext cx="97279" cy="121889"/>
            </a:xfrm>
            <a:prstGeom prst="rect">
              <a:avLst/>
            </a:prstGeom>
          </p:spPr>
        </p:pic>
        <p:pic>
          <p:nvPicPr>
            <p:cNvPr id="701" name="Picture 70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5075870" y="4811271"/>
              <a:ext cx="97279" cy="121889"/>
            </a:xfrm>
            <a:prstGeom prst="rect">
              <a:avLst/>
            </a:prstGeom>
          </p:spPr>
        </p:pic>
        <p:pic>
          <p:nvPicPr>
            <p:cNvPr id="702" name="Picture 70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6295302" y="4710922"/>
              <a:ext cx="97279" cy="121889"/>
            </a:xfrm>
            <a:prstGeom prst="rect">
              <a:avLst/>
            </a:prstGeom>
          </p:spPr>
        </p:pic>
        <p:grpSp>
          <p:nvGrpSpPr>
            <p:cNvPr id="703" name="Group 702"/>
            <p:cNvGrpSpPr/>
            <p:nvPr/>
          </p:nvGrpSpPr>
          <p:grpSpPr>
            <a:xfrm rot="173469">
              <a:off x="5407207" y="4423218"/>
              <a:ext cx="956420" cy="734719"/>
              <a:chOff x="6235538" y="3425213"/>
              <a:chExt cx="1656758" cy="1272716"/>
            </a:xfrm>
          </p:grpSpPr>
          <p:pic>
            <p:nvPicPr>
              <p:cNvPr id="709" name="Picture 708"/>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rot="21256694">
                <a:off x="6249406" y="3558536"/>
                <a:ext cx="1639939" cy="1139393"/>
              </a:xfrm>
              <a:prstGeom prst="rect">
                <a:avLst/>
              </a:prstGeom>
            </p:spPr>
          </p:pic>
          <p:sp>
            <p:nvSpPr>
              <p:cNvPr id="710" name="Freeform 709"/>
              <p:cNvSpPr/>
              <p:nvPr/>
            </p:nvSpPr>
            <p:spPr>
              <a:xfrm rot="21256694">
                <a:off x="6235538" y="3485288"/>
                <a:ext cx="912408" cy="516308"/>
              </a:xfrm>
              <a:custGeom>
                <a:avLst/>
                <a:gdLst>
                  <a:gd name="connsiteX0" fmla="*/ 405825 w 911443"/>
                  <a:gd name="connsiteY0" fmla="*/ 0 h 549891"/>
                  <a:gd name="connsiteX1" fmla="*/ 911443 w 911443"/>
                  <a:gd name="connsiteY1" fmla="*/ 291919 h 549891"/>
                  <a:gd name="connsiteX2" fmla="*/ 505621 w 911443"/>
                  <a:gd name="connsiteY2" fmla="*/ 549891 h 549891"/>
                  <a:gd name="connsiteX3" fmla="*/ 2 w 911443"/>
                  <a:gd name="connsiteY3" fmla="*/ 257972 h 549891"/>
                  <a:gd name="connsiteX4" fmla="*/ 2582 w 911443"/>
                  <a:gd name="connsiteY4" fmla="*/ 256332 h 549891"/>
                  <a:gd name="connsiteX5" fmla="*/ 0 w 911443"/>
                  <a:gd name="connsiteY5" fmla="*/ 256332 h 549891"/>
                  <a:gd name="connsiteX6" fmla="*/ 0 w 911443"/>
                  <a:gd name="connsiteY6" fmla="*/ 205532 h 549891"/>
                  <a:gd name="connsiteX7" fmla="*/ 82497 w 911443"/>
                  <a:gd name="connsiteY7" fmla="*/ 205532 h 549891"/>
                  <a:gd name="connsiteX0" fmla="*/ 405825 w 911443"/>
                  <a:gd name="connsiteY0" fmla="*/ 0 h 549891"/>
                  <a:gd name="connsiteX1" fmla="*/ 911443 w 911443"/>
                  <a:gd name="connsiteY1" fmla="*/ 291919 h 549891"/>
                  <a:gd name="connsiteX2" fmla="*/ 477233 w 911443"/>
                  <a:gd name="connsiteY2" fmla="*/ 549891 h 549891"/>
                  <a:gd name="connsiteX3" fmla="*/ 2 w 911443"/>
                  <a:gd name="connsiteY3" fmla="*/ 257972 h 549891"/>
                  <a:gd name="connsiteX4" fmla="*/ 2582 w 911443"/>
                  <a:gd name="connsiteY4" fmla="*/ 256332 h 549891"/>
                  <a:gd name="connsiteX5" fmla="*/ 0 w 911443"/>
                  <a:gd name="connsiteY5" fmla="*/ 256332 h 549891"/>
                  <a:gd name="connsiteX6" fmla="*/ 0 w 911443"/>
                  <a:gd name="connsiteY6" fmla="*/ 205532 h 549891"/>
                  <a:gd name="connsiteX7" fmla="*/ 82497 w 911443"/>
                  <a:gd name="connsiteY7" fmla="*/ 205532 h 549891"/>
                  <a:gd name="connsiteX8" fmla="*/ 405825 w 911443"/>
                  <a:gd name="connsiteY8" fmla="*/ 0 h 549891"/>
                  <a:gd name="connsiteX0" fmla="*/ 405825 w 911443"/>
                  <a:gd name="connsiteY0" fmla="*/ 0 h 529613"/>
                  <a:gd name="connsiteX1" fmla="*/ 911443 w 911443"/>
                  <a:gd name="connsiteY1" fmla="*/ 291919 h 529613"/>
                  <a:gd name="connsiteX2" fmla="*/ 477233 w 911443"/>
                  <a:gd name="connsiteY2" fmla="*/ 529613 h 529613"/>
                  <a:gd name="connsiteX3" fmla="*/ 2 w 911443"/>
                  <a:gd name="connsiteY3" fmla="*/ 257972 h 529613"/>
                  <a:gd name="connsiteX4" fmla="*/ 2582 w 911443"/>
                  <a:gd name="connsiteY4" fmla="*/ 256332 h 529613"/>
                  <a:gd name="connsiteX5" fmla="*/ 0 w 911443"/>
                  <a:gd name="connsiteY5" fmla="*/ 256332 h 529613"/>
                  <a:gd name="connsiteX6" fmla="*/ 0 w 911443"/>
                  <a:gd name="connsiteY6" fmla="*/ 205532 h 529613"/>
                  <a:gd name="connsiteX7" fmla="*/ 82497 w 911443"/>
                  <a:gd name="connsiteY7" fmla="*/ 205532 h 529613"/>
                  <a:gd name="connsiteX8" fmla="*/ 405825 w 911443"/>
                  <a:gd name="connsiteY8" fmla="*/ 0 h 529613"/>
                  <a:gd name="connsiteX0" fmla="*/ 405825 w 907389"/>
                  <a:gd name="connsiteY0" fmla="*/ 0 h 529613"/>
                  <a:gd name="connsiteX1" fmla="*/ 907389 w 907389"/>
                  <a:gd name="connsiteY1" fmla="*/ 275697 h 529613"/>
                  <a:gd name="connsiteX2" fmla="*/ 477233 w 907389"/>
                  <a:gd name="connsiteY2" fmla="*/ 529613 h 529613"/>
                  <a:gd name="connsiteX3" fmla="*/ 2 w 907389"/>
                  <a:gd name="connsiteY3" fmla="*/ 257972 h 529613"/>
                  <a:gd name="connsiteX4" fmla="*/ 2582 w 907389"/>
                  <a:gd name="connsiteY4" fmla="*/ 256332 h 529613"/>
                  <a:gd name="connsiteX5" fmla="*/ 0 w 907389"/>
                  <a:gd name="connsiteY5" fmla="*/ 256332 h 529613"/>
                  <a:gd name="connsiteX6" fmla="*/ 0 w 907389"/>
                  <a:gd name="connsiteY6" fmla="*/ 205532 h 529613"/>
                  <a:gd name="connsiteX7" fmla="*/ 82497 w 907389"/>
                  <a:gd name="connsiteY7" fmla="*/ 205532 h 529613"/>
                  <a:gd name="connsiteX8" fmla="*/ 405825 w 907389"/>
                  <a:gd name="connsiteY8" fmla="*/ 0 h 529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7389" h="529613">
                    <a:moveTo>
                      <a:pt x="405825" y="0"/>
                    </a:moveTo>
                    <a:lnTo>
                      <a:pt x="907389" y="275697"/>
                    </a:lnTo>
                    <a:lnTo>
                      <a:pt x="477233" y="529613"/>
                    </a:lnTo>
                    <a:lnTo>
                      <a:pt x="2" y="257972"/>
                    </a:lnTo>
                    <a:lnTo>
                      <a:pt x="2582" y="256332"/>
                    </a:lnTo>
                    <a:lnTo>
                      <a:pt x="0" y="256332"/>
                    </a:lnTo>
                    <a:lnTo>
                      <a:pt x="0" y="205532"/>
                    </a:lnTo>
                    <a:lnTo>
                      <a:pt x="82497" y="205532"/>
                    </a:lnTo>
                    <a:lnTo>
                      <a:pt x="405825" y="0"/>
                    </a:lnTo>
                    <a:close/>
                  </a:path>
                </a:pathLst>
              </a:custGeom>
              <a:solidFill>
                <a:schemeClr val="bg1">
                  <a:lumMod val="8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1200" dirty="0">
                  <a:solidFill>
                    <a:srgbClr val="FFFFFF"/>
                  </a:solidFill>
                  <a:latin typeface="Trebuchet MS"/>
                  <a:ea typeface="Meiryo UI"/>
                </a:endParaRPr>
              </a:p>
            </p:txBody>
          </p:sp>
          <p:sp>
            <p:nvSpPr>
              <p:cNvPr id="711" name="Freeform 710"/>
              <p:cNvSpPr/>
              <p:nvPr/>
            </p:nvSpPr>
            <p:spPr>
              <a:xfrm rot="1456694">
                <a:off x="6568842" y="3558699"/>
                <a:ext cx="521804" cy="457351"/>
              </a:xfrm>
              <a:custGeom>
                <a:avLst/>
                <a:gdLst>
                  <a:gd name="connsiteX0" fmla="*/ 0 w 466657"/>
                  <a:gd name="connsiteY0" fmla="*/ 45556 h 469796"/>
                  <a:gd name="connsiteX1" fmla="*/ 362353 w 466657"/>
                  <a:gd name="connsiteY1" fmla="*/ 45556 h 469796"/>
                  <a:gd name="connsiteX2" fmla="*/ 441257 w 466657"/>
                  <a:gd name="connsiteY2" fmla="*/ 0 h 469796"/>
                  <a:gd name="connsiteX3" fmla="*/ 466657 w 466657"/>
                  <a:gd name="connsiteY3" fmla="*/ 43995 h 469796"/>
                  <a:gd name="connsiteX4" fmla="*/ 463953 w 466657"/>
                  <a:gd name="connsiteY4" fmla="*/ 45556 h 469796"/>
                  <a:gd name="connsiteX5" fmla="*/ 466316 w 466657"/>
                  <a:gd name="connsiteY5" fmla="*/ 45556 h 469796"/>
                  <a:gd name="connsiteX6" fmla="*/ 244935 w 466657"/>
                  <a:gd name="connsiteY6" fmla="*/ 469796 h 469796"/>
                  <a:gd name="connsiteX0" fmla="*/ 0 w 466657"/>
                  <a:gd name="connsiteY0" fmla="*/ 45556 h 495068"/>
                  <a:gd name="connsiteX1" fmla="*/ 362353 w 466657"/>
                  <a:gd name="connsiteY1" fmla="*/ 45556 h 495068"/>
                  <a:gd name="connsiteX2" fmla="*/ 441257 w 466657"/>
                  <a:gd name="connsiteY2" fmla="*/ 0 h 495068"/>
                  <a:gd name="connsiteX3" fmla="*/ 466657 w 466657"/>
                  <a:gd name="connsiteY3" fmla="*/ 43995 h 495068"/>
                  <a:gd name="connsiteX4" fmla="*/ 463953 w 466657"/>
                  <a:gd name="connsiteY4" fmla="*/ 45556 h 495068"/>
                  <a:gd name="connsiteX5" fmla="*/ 466316 w 466657"/>
                  <a:gd name="connsiteY5" fmla="*/ 45556 h 495068"/>
                  <a:gd name="connsiteX6" fmla="*/ 217381 w 466657"/>
                  <a:gd name="connsiteY6" fmla="*/ 495068 h 495068"/>
                  <a:gd name="connsiteX7" fmla="*/ 0 w 466657"/>
                  <a:gd name="connsiteY7" fmla="*/ 45556 h 495068"/>
                  <a:gd name="connsiteX0" fmla="*/ -1 w 547723"/>
                  <a:gd name="connsiteY0" fmla="*/ 26802 h 495068"/>
                  <a:gd name="connsiteX1" fmla="*/ 443419 w 547723"/>
                  <a:gd name="connsiteY1" fmla="*/ 45556 h 495068"/>
                  <a:gd name="connsiteX2" fmla="*/ 522323 w 547723"/>
                  <a:gd name="connsiteY2" fmla="*/ 0 h 495068"/>
                  <a:gd name="connsiteX3" fmla="*/ 547723 w 547723"/>
                  <a:gd name="connsiteY3" fmla="*/ 43995 h 495068"/>
                  <a:gd name="connsiteX4" fmla="*/ 545019 w 547723"/>
                  <a:gd name="connsiteY4" fmla="*/ 45556 h 495068"/>
                  <a:gd name="connsiteX5" fmla="*/ 547382 w 547723"/>
                  <a:gd name="connsiteY5" fmla="*/ 45556 h 495068"/>
                  <a:gd name="connsiteX6" fmla="*/ 298447 w 547723"/>
                  <a:gd name="connsiteY6" fmla="*/ 495068 h 495068"/>
                  <a:gd name="connsiteX7" fmla="*/ -1 w 547723"/>
                  <a:gd name="connsiteY7" fmla="*/ 26802 h 495068"/>
                  <a:gd name="connsiteX0" fmla="*/ -1 w 547723"/>
                  <a:gd name="connsiteY0" fmla="*/ 26802 h 495068"/>
                  <a:gd name="connsiteX1" fmla="*/ 443419 w 547723"/>
                  <a:gd name="connsiteY1" fmla="*/ 45556 h 495068"/>
                  <a:gd name="connsiteX2" fmla="*/ 522323 w 547723"/>
                  <a:gd name="connsiteY2" fmla="*/ 0 h 495068"/>
                  <a:gd name="connsiteX3" fmla="*/ 547723 w 547723"/>
                  <a:gd name="connsiteY3" fmla="*/ 43995 h 495068"/>
                  <a:gd name="connsiteX4" fmla="*/ 545019 w 547723"/>
                  <a:gd name="connsiteY4" fmla="*/ 45556 h 495068"/>
                  <a:gd name="connsiteX5" fmla="*/ 547382 w 547723"/>
                  <a:gd name="connsiteY5" fmla="*/ 45556 h 495068"/>
                  <a:gd name="connsiteX6" fmla="*/ 298447 w 547723"/>
                  <a:gd name="connsiteY6" fmla="*/ 495068 h 495068"/>
                  <a:gd name="connsiteX7" fmla="*/ -1 w 547723"/>
                  <a:gd name="connsiteY7" fmla="*/ 26802 h 495068"/>
                  <a:gd name="connsiteX0" fmla="*/ 0 w 525562"/>
                  <a:gd name="connsiteY0" fmla="*/ 32739 h 495068"/>
                  <a:gd name="connsiteX1" fmla="*/ 421258 w 525562"/>
                  <a:gd name="connsiteY1" fmla="*/ 45556 h 495068"/>
                  <a:gd name="connsiteX2" fmla="*/ 500162 w 525562"/>
                  <a:gd name="connsiteY2" fmla="*/ 0 h 495068"/>
                  <a:gd name="connsiteX3" fmla="*/ 525562 w 525562"/>
                  <a:gd name="connsiteY3" fmla="*/ 43995 h 495068"/>
                  <a:gd name="connsiteX4" fmla="*/ 522858 w 525562"/>
                  <a:gd name="connsiteY4" fmla="*/ 45556 h 495068"/>
                  <a:gd name="connsiteX5" fmla="*/ 525221 w 525562"/>
                  <a:gd name="connsiteY5" fmla="*/ 45556 h 495068"/>
                  <a:gd name="connsiteX6" fmla="*/ 276286 w 525562"/>
                  <a:gd name="connsiteY6" fmla="*/ 495068 h 495068"/>
                  <a:gd name="connsiteX7" fmla="*/ 0 w 525562"/>
                  <a:gd name="connsiteY7" fmla="*/ 32739 h 495068"/>
                  <a:gd name="connsiteX0" fmla="*/ 0 w 525562"/>
                  <a:gd name="connsiteY0" fmla="*/ 32739 h 484533"/>
                  <a:gd name="connsiteX1" fmla="*/ 421258 w 525562"/>
                  <a:gd name="connsiteY1" fmla="*/ 45556 h 484533"/>
                  <a:gd name="connsiteX2" fmla="*/ 500162 w 525562"/>
                  <a:gd name="connsiteY2" fmla="*/ 0 h 484533"/>
                  <a:gd name="connsiteX3" fmla="*/ 525562 w 525562"/>
                  <a:gd name="connsiteY3" fmla="*/ 43995 h 484533"/>
                  <a:gd name="connsiteX4" fmla="*/ 522858 w 525562"/>
                  <a:gd name="connsiteY4" fmla="*/ 45556 h 484533"/>
                  <a:gd name="connsiteX5" fmla="*/ 525221 w 525562"/>
                  <a:gd name="connsiteY5" fmla="*/ 45556 h 484533"/>
                  <a:gd name="connsiteX6" fmla="*/ 270202 w 525562"/>
                  <a:gd name="connsiteY6" fmla="*/ 484533 h 484533"/>
                  <a:gd name="connsiteX7" fmla="*/ 0 w 525562"/>
                  <a:gd name="connsiteY7" fmla="*/ 32739 h 484533"/>
                  <a:gd name="connsiteX0" fmla="*/ 0 w 525562"/>
                  <a:gd name="connsiteY0" fmla="*/ 32739 h 470478"/>
                  <a:gd name="connsiteX1" fmla="*/ 421258 w 525562"/>
                  <a:gd name="connsiteY1" fmla="*/ 45556 h 470478"/>
                  <a:gd name="connsiteX2" fmla="*/ 500162 w 525562"/>
                  <a:gd name="connsiteY2" fmla="*/ 0 h 470478"/>
                  <a:gd name="connsiteX3" fmla="*/ 525562 w 525562"/>
                  <a:gd name="connsiteY3" fmla="*/ 43995 h 470478"/>
                  <a:gd name="connsiteX4" fmla="*/ 522858 w 525562"/>
                  <a:gd name="connsiteY4" fmla="*/ 45556 h 470478"/>
                  <a:gd name="connsiteX5" fmla="*/ 525221 w 525562"/>
                  <a:gd name="connsiteY5" fmla="*/ 45556 h 470478"/>
                  <a:gd name="connsiteX6" fmla="*/ 262092 w 525562"/>
                  <a:gd name="connsiteY6" fmla="*/ 470479 h 470478"/>
                  <a:gd name="connsiteX7" fmla="*/ 0 w 525562"/>
                  <a:gd name="connsiteY7" fmla="*/ 32739 h 470478"/>
                  <a:gd name="connsiteX0" fmla="*/ 0 w 525562"/>
                  <a:gd name="connsiteY0" fmla="*/ 32739 h 470478"/>
                  <a:gd name="connsiteX1" fmla="*/ 421258 w 525562"/>
                  <a:gd name="connsiteY1" fmla="*/ 45556 h 470478"/>
                  <a:gd name="connsiteX2" fmla="*/ 500160 w 525562"/>
                  <a:gd name="connsiteY2" fmla="*/ 0 h 470478"/>
                  <a:gd name="connsiteX3" fmla="*/ 525562 w 525562"/>
                  <a:gd name="connsiteY3" fmla="*/ 43995 h 470478"/>
                  <a:gd name="connsiteX4" fmla="*/ 522858 w 525562"/>
                  <a:gd name="connsiteY4" fmla="*/ 45556 h 470478"/>
                  <a:gd name="connsiteX5" fmla="*/ 525221 w 525562"/>
                  <a:gd name="connsiteY5" fmla="*/ 45556 h 470478"/>
                  <a:gd name="connsiteX6" fmla="*/ 262092 w 525562"/>
                  <a:gd name="connsiteY6" fmla="*/ 470479 h 470478"/>
                  <a:gd name="connsiteX7" fmla="*/ 0 w 525562"/>
                  <a:gd name="connsiteY7" fmla="*/ 32739 h 470478"/>
                  <a:gd name="connsiteX0" fmla="*/ 0 w 525562"/>
                  <a:gd name="connsiteY0" fmla="*/ 32739 h 470478"/>
                  <a:gd name="connsiteX1" fmla="*/ 421258 w 525562"/>
                  <a:gd name="connsiteY1" fmla="*/ 45556 h 470478"/>
                  <a:gd name="connsiteX2" fmla="*/ 500160 w 525562"/>
                  <a:gd name="connsiteY2" fmla="*/ 0 h 470478"/>
                  <a:gd name="connsiteX3" fmla="*/ 525562 w 525562"/>
                  <a:gd name="connsiteY3" fmla="*/ 43995 h 470478"/>
                  <a:gd name="connsiteX4" fmla="*/ 522858 w 525562"/>
                  <a:gd name="connsiteY4" fmla="*/ 45556 h 470478"/>
                  <a:gd name="connsiteX5" fmla="*/ 519140 w 525562"/>
                  <a:gd name="connsiteY5" fmla="*/ 35019 h 470478"/>
                  <a:gd name="connsiteX6" fmla="*/ 262092 w 525562"/>
                  <a:gd name="connsiteY6" fmla="*/ 470479 h 470478"/>
                  <a:gd name="connsiteX7" fmla="*/ 0 w 525562"/>
                  <a:gd name="connsiteY7" fmla="*/ 32739 h 470478"/>
                  <a:gd name="connsiteX0" fmla="*/ 0 w 525562"/>
                  <a:gd name="connsiteY0" fmla="*/ 32739 h 470479"/>
                  <a:gd name="connsiteX1" fmla="*/ 421258 w 525562"/>
                  <a:gd name="connsiteY1" fmla="*/ 45556 h 470479"/>
                  <a:gd name="connsiteX2" fmla="*/ 500160 w 525562"/>
                  <a:gd name="connsiteY2" fmla="*/ 0 h 470479"/>
                  <a:gd name="connsiteX3" fmla="*/ 525562 w 525562"/>
                  <a:gd name="connsiteY3" fmla="*/ 43995 h 470479"/>
                  <a:gd name="connsiteX4" fmla="*/ 519140 w 525562"/>
                  <a:gd name="connsiteY4" fmla="*/ 35019 h 470479"/>
                  <a:gd name="connsiteX5" fmla="*/ 262092 w 525562"/>
                  <a:gd name="connsiteY5" fmla="*/ 470479 h 470479"/>
                  <a:gd name="connsiteX6" fmla="*/ 0 w 525562"/>
                  <a:gd name="connsiteY6" fmla="*/ 32739 h 470479"/>
                  <a:gd name="connsiteX0" fmla="*/ 0 w 525562"/>
                  <a:gd name="connsiteY0" fmla="*/ 32739 h 470479"/>
                  <a:gd name="connsiteX1" fmla="*/ 421258 w 525562"/>
                  <a:gd name="connsiteY1" fmla="*/ 45556 h 470479"/>
                  <a:gd name="connsiteX2" fmla="*/ 500160 w 525562"/>
                  <a:gd name="connsiteY2" fmla="*/ 0 h 470479"/>
                  <a:gd name="connsiteX3" fmla="*/ 525562 w 525562"/>
                  <a:gd name="connsiteY3" fmla="*/ 43995 h 470479"/>
                  <a:gd name="connsiteX4" fmla="*/ 262092 w 525562"/>
                  <a:gd name="connsiteY4" fmla="*/ 470479 h 470479"/>
                  <a:gd name="connsiteX5" fmla="*/ 0 w 525562"/>
                  <a:gd name="connsiteY5" fmla="*/ 32739 h 470479"/>
                  <a:gd name="connsiteX0" fmla="*/ 0 w 518933"/>
                  <a:gd name="connsiteY0" fmla="*/ 32739 h 470479"/>
                  <a:gd name="connsiteX1" fmla="*/ 421258 w 518933"/>
                  <a:gd name="connsiteY1" fmla="*/ 45556 h 470479"/>
                  <a:gd name="connsiteX2" fmla="*/ 500160 w 518933"/>
                  <a:gd name="connsiteY2" fmla="*/ 0 h 470479"/>
                  <a:gd name="connsiteX3" fmla="*/ 518933 w 518933"/>
                  <a:gd name="connsiteY3" fmla="*/ 34773 h 470479"/>
                  <a:gd name="connsiteX4" fmla="*/ 262092 w 518933"/>
                  <a:gd name="connsiteY4" fmla="*/ 470479 h 470479"/>
                  <a:gd name="connsiteX5" fmla="*/ 0 w 518933"/>
                  <a:gd name="connsiteY5" fmla="*/ 32739 h 470479"/>
                  <a:gd name="connsiteX0" fmla="*/ 0 w 518933"/>
                  <a:gd name="connsiteY0" fmla="*/ 32739 h 470479"/>
                  <a:gd name="connsiteX1" fmla="*/ 421258 w 518933"/>
                  <a:gd name="connsiteY1" fmla="*/ 45556 h 470479"/>
                  <a:gd name="connsiteX2" fmla="*/ 500160 w 518933"/>
                  <a:gd name="connsiteY2" fmla="*/ 0 h 470479"/>
                  <a:gd name="connsiteX3" fmla="*/ 518933 w 518933"/>
                  <a:gd name="connsiteY3" fmla="*/ 34773 h 470479"/>
                  <a:gd name="connsiteX4" fmla="*/ 262092 w 518933"/>
                  <a:gd name="connsiteY4" fmla="*/ 470479 h 470479"/>
                  <a:gd name="connsiteX5" fmla="*/ 0 w 518933"/>
                  <a:gd name="connsiteY5" fmla="*/ 32739 h 470479"/>
                  <a:gd name="connsiteX0" fmla="*/ 0 w 518933"/>
                  <a:gd name="connsiteY0" fmla="*/ 31395 h 469135"/>
                  <a:gd name="connsiteX1" fmla="*/ 421258 w 518933"/>
                  <a:gd name="connsiteY1" fmla="*/ 44212 h 469135"/>
                  <a:gd name="connsiteX2" fmla="*/ 491803 w 518933"/>
                  <a:gd name="connsiteY2" fmla="*/ 0 h 469135"/>
                  <a:gd name="connsiteX3" fmla="*/ 518933 w 518933"/>
                  <a:gd name="connsiteY3" fmla="*/ 33429 h 469135"/>
                  <a:gd name="connsiteX4" fmla="*/ 262092 w 518933"/>
                  <a:gd name="connsiteY4" fmla="*/ 469135 h 469135"/>
                  <a:gd name="connsiteX5" fmla="*/ 0 w 518933"/>
                  <a:gd name="connsiteY5" fmla="*/ 31395 h 469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8933" h="469135">
                    <a:moveTo>
                      <a:pt x="0" y="31395"/>
                    </a:moveTo>
                    <a:lnTo>
                      <a:pt x="421258" y="44212"/>
                    </a:lnTo>
                    <a:cubicBezTo>
                      <a:pt x="447559" y="29027"/>
                      <a:pt x="466655" y="33005"/>
                      <a:pt x="491803" y="0"/>
                    </a:cubicBezTo>
                    <a:lnTo>
                      <a:pt x="518933" y="33429"/>
                    </a:lnTo>
                    <a:lnTo>
                      <a:pt x="262092" y="469135"/>
                    </a:lnTo>
                    <a:cubicBezTo>
                      <a:pt x="180447" y="327722"/>
                      <a:pt x="81103" y="163757"/>
                      <a:pt x="0" y="31395"/>
                    </a:cubicBezTo>
                    <a:close/>
                  </a:path>
                </a:pathLst>
              </a:cu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1200" dirty="0">
                  <a:solidFill>
                    <a:srgbClr val="FFFFFF"/>
                  </a:solidFill>
                  <a:latin typeface="Trebuchet MS"/>
                  <a:ea typeface="Meiryo UI"/>
                </a:endParaRPr>
              </a:p>
            </p:txBody>
          </p:sp>
          <p:sp>
            <p:nvSpPr>
              <p:cNvPr id="712" name="Parallelogram 711"/>
              <p:cNvSpPr/>
              <p:nvPr/>
            </p:nvSpPr>
            <p:spPr>
              <a:xfrm rot="1456694">
                <a:off x="6276083" y="3493023"/>
                <a:ext cx="810765" cy="415611"/>
              </a:xfrm>
              <a:prstGeom prst="parallelogram">
                <a:avLst>
                  <a:gd name="adj" fmla="val 59155"/>
                </a:avLst>
              </a:prstGeom>
              <a:solidFill>
                <a:schemeClr val="bg1">
                  <a:lumMod val="9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1200" dirty="0">
                  <a:solidFill>
                    <a:srgbClr val="FFFFFF"/>
                  </a:solidFill>
                  <a:latin typeface="Trebuchet MS"/>
                  <a:ea typeface="Meiryo UI"/>
                </a:endParaRPr>
              </a:p>
            </p:txBody>
          </p:sp>
          <p:sp>
            <p:nvSpPr>
              <p:cNvPr id="713" name="Parallelogram 712"/>
              <p:cNvSpPr/>
              <p:nvPr/>
            </p:nvSpPr>
            <p:spPr>
              <a:xfrm rot="1456694">
                <a:off x="6312647" y="3508464"/>
                <a:ext cx="730322" cy="379990"/>
              </a:xfrm>
              <a:prstGeom prst="parallelogram">
                <a:avLst>
                  <a:gd name="adj" fmla="val 59155"/>
                </a:avLst>
              </a:prstGeom>
              <a:solidFill>
                <a:srgbClr val="9495A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1200" dirty="0">
                  <a:solidFill>
                    <a:srgbClr val="FFFFFF"/>
                  </a:solidFill>
                  <a:latin typeface="Trebuchet MS"/>
                  <a:ea typeface="Meiryo UI"/>
                </a:endParaRPr>
              </a:p>
            </p:txBody>
          </p:sp>
          <p:sp>
            <p:nvSpPr>
              <p:cNvPr id="714" name="Freeform 713"/>
              <p:cNvSpPr/>
              <p:nvPr/>
            </p:nvSpPr>
            <p:spPr>
              <a:xfrm rot="4714215">
                <a:off x="6709061" y="3371413"/>
                <a:ext cx="298126" cy="405725"/>
              </a:xfrm>
              <a:custGeom>
                <a:avLst/>
                <a:gdLst>
                  <a:gd name="connsiteX0" fmla="*/ 0 w 335087"/>
                  <a:gd name="connsiteY0" fmla="*/ 446074 h 446074"/>
                  <a:gd name="connsiteX1" fmla="*/ 316855 w 335087"/>
                  <a:gd name="connsiteY1" fmla="*/ 0 h 446074"/>
                  <a:gd name="connsiteX2" fmla="*/ 321857 w 335087"/>
                  <a:gd name="connsiteY2" fmla="*/ 0 h 446074"/>
                  <a:gd name="connsiteX3" fmla="*/ 335087 w 335087"/>
                  <a:gd name="connsiteY3" fmla="*/ 30165 h 446074"/>
                  <a:gd name="connsiteX4" fmla="*/ 39659 w 335087"/>
                  <a:gd name="connsiteY4" fmla="*/ 446074 h 446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087" h="446074">
                    <a:moveTo>
                      <a:pt x="0" y="446074"/>
                    </a:moveTo>
                    <a:lnTo>
                      <a:pt x="316855" y="0"/>
                    </a:lnTo>
                    <a:lnTo>
                      <a:pt x="321857" y="0"/>
                    </a:lnTo>
                    <a:lnTo>
                      <a:pt x="335087" y="30165"/>
                    </a:lnTo>
                    <a:lnTo>
                      <a:pt x="39659" y="446074"/>
                    </a:lnTo>
                    <a:close/>
                  </a:path>
                </a:pathLst>
              </a:custGeom>
              <a:solidFill>
                <a:schemeClr val="bg1">
                  <a:lumMod val="5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1200" dirty="0">
                  <a:solidFill>
                    <a:srgbClr val="FFFFFF"/>
                  </a:solidFill>
                  <a:latin typeface="Trebuchet MS"/>
                  <a:ea typeface="Meiryo UI"/>
                </a:endParaRPr>
              </a:p>
            </p:txBody>
          </p:sp>
          <p:sp>
            <p:nvSpPr>
              <p:cNvPr id="715" name="Freeform 714"/>
              <p:cNvSpPr/>
              <p:nvPr/>
            </p:nvSpPr>
            <p:spPr>
              <a:xfrm rot="15514215" flipH="1">
                <a:off x="6352522" y="3405559"/>
                <a:ext cx="196826" cy="402058"/>
              </a:xfrm>
              <a:custGeom>
                <a:avLst/>
                <a:gdLst>
                  <a:gd name="connsiteX0" fmla="*/ 0 w 228226"/>
                  <a:gd name="connsiteY0" fmla="*/ 457648 h 457648"/>
                  <a:gd name="connsiteX1" fmla="*/ 39967 w 228226"/>
                  <a:gd name="connsiteY1" fmla="*/ 457648 h 457648"/>
                  <a:gd name="connsiteX2" fmla="*/ 228226 w 228226"/>
                  <a:gd name="connsiteY2" fmla="*/ 34335 h 457648"/>
                  <a:gd name="connsiteX3" fmla="*/ 203528 w 228226"/>
                  <a:gd name="connsiteY3" fmla="*/ 0 h 457648"/>
                </a:gdLst>
                <a:ahLst/>
                <a:cxnLst>
                  <a:cxn ang="0">
                    <a:pos x="connsiteX0" y="connsiteY0"/>
                  </a:cxn>
                  <a:cxn ang="0">
                    <a:pos x="connsiteX1" y="connsiteY1"/>
                  </a:cxn>
                  <a:cxn ang="0">
                    <a:pos x="connsiteX2" y="connsiteY2"/>
                  </a:cxn>
                  <a:cxn ang="0">
                    <a:pos x="connsiteX3" y="connsiteY3"/>
                  </a:cxn>
                </a:cxnLst>
                <a:rect l="l" t="t" r="r" b="b"/>
                <a:pathLst>
                  <a:path w="228226" h="457648">
                    <a:moveTo>
                      <a:pt x="0" y="457648"/>
                    </a:moveTo>
                    <a:lnTo>
                      <a:pt x="39967" y="457648"/>
                    </a:lnTo>
                    <a:lnTo>
                      <a:pt x="228226" y="34335"/>
                    </a:lnTo>
                    <a:lnTo>
                      <a:pt x="203528" y="0"/>
                    </a:lnTo>
                    <a:close/>
                  </a:path>
                </a:pathLst>
              </a:custGeom>
              <a:solidFill>
                <a:schemeClr val="bg1">
                  <a:lumMod val="5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1200" dirty="0">
                  <a:solidFill>
                    <a:srgbClr val="FFFFFF"/>
                  </a:solidFill>
                  <a:latin typeface="Trebuchet MS"/>
                  <a:ea typeface="Meiryo UI"/>
                </a:endParaRPr>
              </a:p>
            </p:txBody>
          </p:sp>
          <p:grpSp>
            <p:nvGrpSpPr>
              <p:cNvPr id="716" name="Group 715"/>
              <p:cNvGrpSpPr/>
              <p:nvPr/>
            </p:nvGrpSpPr>
            <p:grpSpPr>
              <a:xfrm rot="20914215">
                <a:off x="6743523" y="3592322"/>
                <a:ext cx="1148773" cy="750663"/>
                <a:chOff x="7519311" y="2931801"/>
                <a:chExt cx="1177094" cy="769172"/>
              </a:xfrm>
            </p:grpSpPr>
            <p:grpSp>
              <p:nvGrpSpPr>
                <p:cNvPr id="717" name="Group 716"/>
                <p:cNvGrpSpPr/>
                <p:nvPr/>
              </p:nvGrpSpPr>
              <p:grpSpPr>
                <a:xfrm>
                  <a:off x="7519311" y="2931801"/>
                  <a:ext cx="1177094" cy="769172"/>
                  <a:chOff x="6286231" y="3477628"/>
                  <a:chExt cx="592641" cy="387261"/>
                </a:xfrm>
              </p:grpSpPr>
              <p:sp>
                <p:nvSpPr>
                  <p:cNvPr id="719" name="Freeform 718"/>
                  <p:cNvSpPr/>
                  <p:nvPr/>
                </p:nvSpPr>
                <p:spPr>
                  <a:xfrm rot="342479">
                    <a:off x="6286231" y="3477628"/>
                    <a:ext cx="423017" cy="354889"/>
                  </a:xfrm>
                  <a:custGeom>
                    <a:avLst/>
                    <a:gdLst>
                      <a:gd name="connsiteX0" fmla="*/ 492666 w 1045069"/>
                      <a:gd name="connsiteY0" fmla="*/ 0 h 876760"/>
                      <a:gd name="connsiteX1" fmla="*/ 1012781 w 1045069"/>
                      <a:gd name="connsiteY1" fmla="*/ 329791 h 876760"/>
                      <a:gd name="connsiteX2" fmla="*/ 1045068 w 1045069"/>
                      <a:gd name="connsiteY2" fmla="*/ 358346 h 876760"/>
                      <a:gd name="connsiteX3" fmla="*/ 1045069 w 1045069"/>
                      <a:gd name="connsiteY3" fmla="*/ 872508 h 876760"/>
                      <a:gd name="connsiteX4" fmla="*/ 1043294 w 1045069"/>
                      <a:gd name="connsiteY4" fmla="*/ 876760 h 876760"/>
                      <a:gd name="connsiteX5" fmla="*/ 159921 w 1045069"/>
                      <a:gd name="connsiteY5" fmla="*/ 338977 h 876760"/>
                      <a:gd name="connsiteX6" fmla="*/ 1766 w 1045069"/>
                      <a:gd name="connsiteY6" fmla="*/ 275127 h 876760"/>
                      <a:gd name="connsiteX7" fmla="*/ 1667 w 1045069"/>
                      <a:gd name="connsiteY7" fmla="*/ 275127 h 876760"/>
                      <a:gd name="connsiteX8" fmla="*/ 1667 w 1045069"/>
                      <a:gd name="connsiteY8" fmla="*/ 275087 h 876760"/>
                      <a:gd name="connsiteX9" fmla="*/ 0 w 1045069"/>
                      <a:gd name="connsiteY9" fmla="*/ 274414 h 876760"/>
                      <a:gd name="connsiteX10" fmla="*/ 1667 w 1045069"/>
                      <a:gd name="connsiteY10" fmla="*/ 273486 h 876760"/>
                      <a:gd name="connsiteX11" fmla="*/ 1667 w 1045069"/>
                      <a:gd name="connsiteY11" fmla="*/ 224761 h 876760"/>
                      <a:gd name="connsiteX12" fmla="*/ 89145 w 1045069"/>
                      <a:gd name="connsiteY12" fmla="*/ 224761 h 876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5069" h="876760">
                        <a:moveTo>
                          <a:pt x="492666" y="0"/>
                        </a:moveTo>
                        <a:cubicBezTo>
                          <a:pt x="740132" y="95622"/>
                          <a:pt x="884378" y="213728"/>
                          <a:pt x="1012781" y="329791"/>
                        </a:cubicBezTo>
                        <a:lnTo>
                          <a:pt x="1045068" y="358346"/>
                        </a:lnTo>
                        <a:lnTo>
                          <a:pt x="1045069" y="872508"/>
                        </a:lnTo>
                        <a:cubicBezTo>
                          <a:pt x="1044478" y="873925"/>
                          <a:pt x="1043886" y="875343"/>
                          <a:pt x="1043294" y="876760"/>
                        </a:cubicBezTo>
                        <a:cubicBezTo>
                          <a:pt x="767612" y="772612"/>
                          <a:pt x="516973" y="505719"/>
                          <a:pt x="159921" y="338977"/>
                        </a:cubicBezTo>
                        <a:lnTo>
                          <a:pt x="1766" y="275127"/>
                        </a:lnTo>
                        <a:lnTo>
                          <a:pt x="1667" y="275127"/>
                        </a:lnTo>
                        <a:lnTo>
                          <a:pt x="1667" y="275087"/>
                        </a:lnTo>
                        <a:lnTo>
                          <a:pt x="0" y="274414"/>
                        </a:lnTo>
                        <a:lnTo>
                          <a:pt x="1667" y="273486"/>
                        </a:lnTo>
                        <a:lnTo>
                          <a:pt x="1667" y="224761"/>
                        </a:lnTo>
                        <a:lnTo>
                          <a:pt x="89145" y="224761"/>
                        </a:lnTo>
                        <a:close/>
                      </a:path>
                    </a:pathLst>
                  </a:custGeom>
                  <a:solidFill>
                    <a:srgbClr val="D9D9D9"/>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1200" dirty="0">
                      <a:solidFill>
                        <a:srgbClr val="FFFFFF"/>
                      </a:solidFill>
                      <a:latin typeface="Trebuchet MS"/>
                      <a:ea typeface="Meiryo UI"/>
                    </a:endParaRPr>
                  </a:p>
                </p:txBody>
              </p:sp>
              <p:grpSp>
                <p:nvGrpSpPr>
                  <p:cNvPr id="720" name="Group 719"/>
                  <p:cNvGrpSpPr/>
                  <p:nvPr/>
                </p:nvGrpSpPr>
                <p:grpSpPr>
                  <a:xfrm>
                    <a:off x="6299371" y="3532438"/>
                    <a:ext cx="579501" cy="332451"/>
                    <a:chOff x="6299371" y="3532438"/>
                    <a:chExt cx="579501" cy="332451"/>
                  </a:xfrm>
                </p:grpSpPr>
                <p:sp>
                  <p:nvSpPr>
                    <p:cNvPr id="721" name="Freeform 720"/>
                    <p:cNvSpPr/>
                    <p:nvPr/>
                  </p:nvSpPr>
                  <p:spPr>
                    <a:xfrm rot="2142479">
                      <a:off x="6640114" y="3683523"/>
                      <a:ext cx="196171" cy="181366"/>
                    </a:xfrm>
                    <a:custGeom>
                      <a:avLst/>
                      <a:gdLst>
                        <a:gd name="connsiteX0" fmla="*/ 0 w 484643"/>
                        <a:gd name="connsiteY0" fmla="*/ 0 h 448065"/>
                        <a:gd name="connsiteX1" fmla="*/ 208478 w 484643"/>
                        <a:gd name="connsiteY1" fmla="*/ 42376 h 448065"/>
                        <a:gd name="connsiteX2" fmla="*/ 340408 w 484643"/>
                        <a:gd name="connsiteY2" fmla="*/ 56098 h 448065"/>
                        <a:gd name="connsiteX3" fmla="*/ 388089 w 484643"/>
                        <a:gd name="connsiteY3" fmla="*/ 55360 h 448065"/>
                        <a:gd name="connsiteX4" fmla="*/ 460576 w 484643"/>
                        <a:gd name="connsiteY4" fmla="*/ 13509 h 448065"/>
                        <a:gd name="connsiteX5" fmla="*/ 483435 w 484643"/>
                        <a:gd name="connsiteY5" fmla="*/ 53103 h 448065"/>
                        <a:gd name="connsiteX6" fmla="*/ 482047 w 484643"/>
                        <a:gd name="connsiteY6" fmla="*/ 53904 h 448065"/>
                        <a:gd name="connsiteX7" fmla="*/ 484643 w 484643"/>
                        <a:gd name="connsiteY7" fmla="*/ 53864 h 448065"/>
                        <a:gd name="connsiteX8" fmla="*/ 258691 w 484643"/>
                        <a:gd name="connsiteY8" fmla="*/ 448065 h 448065"/>
                        <a:gd name="connsiteX9" fmla="*/ 143854 w 484643"/>
                        <a:gd name="connsiteY9" fmla="*/ 249160 h 448065"/>
                        <a:gd name="connsiteX10" fmla="*/ 116358 w 484643"/>
                        <a:gd name="connsiteY10" fmla="*/ 265035 h 448065"/>
                        <a:gd name="connsiteX11" fmla="*/ 93499 w 484643"/>
                        <a:gd name="connsiteY11" fmla="*/ 225441 h 448065"/>
                        <a:gd name="connsiteX12" fmla="*/ 120993 w 484643"/>
                        <a:gd name="connsiteY12" fmla="*/ 209567 h 448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4643" h="448065">
                          <a:moveTo>
                            <a:pt x="0" y="0"/>
                          </a:moveTo>
                          <a:lnTo>
                            <a:pt x="208478" y="42376"/>
                          </a:lnTo>
                          <a:cubicBezTo>
                            <a:pt x="251065" y="48933"/>
                            <a:pt x="294710" y="53845"/>
                            <a:pt x="340408" y="56098"/>
                          </a:cubicBezTo>
                          <a:lnTo>
                            <a:pt x="388089" y="55360"/>
                          </a:lnTo>
                          <a:lnTo>
                            <a:pt x="460576" y="13509"/>
                          </a:lnTo>
                          <a:lnTo>
                            <a:pt x="483435" y="53103"/>
                          </a:lnTo>
                          <a:lnTo>
                            <a:pt x="482047" y="53904"/>
                          </a:lnTo>
                          <a:lnTo>
                            <a:pt x="484643" y="53864"/>
                          </a:lnTo>
                          <a:lnTo>
                            <a:pt x="258691" y="448065"/>
                          </a:lnTo>
                          <a:lnTo>
                            <a:pt x="143854" y="249160"/>
                          </a:lnTo>
                          <a:lnTo>
                            <a:pt x="116358" y="265035"/>
                          </a:lnTo>
                          <a:lnTo>
                            <a:pt x="93499" y="225441"/>
                          </a:lnTo>
                          <a:lnTo>
                            <a:pt x="120993" y="209567"/>
                          </a:lnTo>
                          <a:close/>
                        </a:path>
                      </a:pathLst>
                    </a:custGeom>
                    <a:solidFill>
                      <a:srgbClr val="BFBFB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1200" dirty="0">
                        <a:solidFill>
                          <a:srgbClr val="FFFFFF"/>
                        </a:solidFill>
                        <a:latin typeface="Trebuchet MS"/>
                        <a:ea typeface="Meiryo UI"/>
                      </a:endParaRPr>
                    </a:p>
                  </p:txBody>
                </p:sp>
                <p:sp>
                  <p:nvSpPr>
                    <p:cNvPr id="722" name="Parallelogram 270"/>
                    <p:cNvSpPr/>
                    <p:nvPr/>
                  </p:nvSpPr>
                  <p:spPr>
                    <a:xfrm rot="2142479">
                      <a:off x="6299371" y="3532438"/>
                      <a:ext cx="579501" cy="208933"/>
                    </a:xfrm>
                    <a:custGeom>
                      <a:avLst/>
                      <a:gdLst>
                        <a:gd name="connsiteX0" fmla="*/ 0 w 580238"/>
                        <a:gd name="connsiteY0" fmla="*/ 187950 h 187950"/>
                        <a:gd name="connsiteX1" fmla="*/ 112407 w 580238"/>
                        <a:gd name="connsiteY1" fmla="*/ 0 h 187950"/>
                        <a:gd name="connsiteX2" fmla="*/ 580238 w 580238"/>
                        <a:gd name="connsiteY2" fmla="*/ 0 h 187950"/>
                        <a:gd name="connsiteX3" fmla="*/ 467831 w 580238"/>
                        <a:gd name="connsiteY3" fmla="*/ 187950 h 187950"/>
                        <a:gd name="connsiteX4" fmla="*/ 0 w 580238"/>
                        <a:gd name="connsiteY4" fmla="*/ 187950 h 187950"/>
                        <a:gd name="connsiteX0" fmla="*/ 0 w 555974"/>
                        <a:gd name="connsiteY0" fmla="*/ 187950 h 187950"/>
                        <a:gd name="connsiteX1" fmla="*/ 112407 w 555974"/>
                        <a:gd name="connsiteY1" fmla="*/ 0 h 187950"/>
                        <a:gd name="connsiteX2" fmla="*/ 555974 w 555974"/>
                        <a:gd name="connsiteY2" fmla="*/ 34174 h 187950"/>
                        <a:gd name="connsiteX3" fmla="*/ 467831 w 555974"/>
                        <a:gd name="connsiteY3" fmla="*/ 187950 h 187950"/>
                        <a:gd name="connsiteX4" fmla="*/ 0 w 555974"/>
                        <a:gd name="connsiteY4" fmla="*/ 187950 h 187950"/>
                        <a:gd name="connsiteX0" fmla="*/ 0 w 555974"/>
                        <a:gd name="connsiteY0" fmla="*/ 197768 h 197768"/>
                        <a:gd name="connsiteX1" fmla="*/ 112407 w 555974"/>
                        <a:gd name="connsiteY1" fmla="*/ 9818 h 197768"/>
                        <a:gd name="connsiteX2" fmla="*/ 555974 w 555974"/>
                        <a:gd name="connsiteY2" fmla="*/ 43992 h 197768"/>
                        <a:gd name="connsiteX3" fmla="*/ 467831 w 555974"/>
                        <a:gd name="connsiteY3" fmla="*/ 197768 h 197768"/>
                        <a:gd name="connsiteX4" fmla="*/ 0 w 555974"/>
                        <a:gd name="connsiteY4" fmla="*/ 197768 h 197768"/>
                        <a:gd name="connsiteX0" fmla="*/ 0 w 555974"/>
                        <a:gd name="connsiteY0" fmla="*/ 195578 h 195578"/>
                        <a:gd name="connsiteX1" fmla="*/ 112407 w 555974"/>
                        <a:gd name="connsiteY1" fmla="*/ 7628 h 195578"/>
                        <a:gd name="connsiteX2" fmla="*/ 555974 w 555974"/>
                        <a:gd name="connsiteY2" fmla="*/ 41802 h 195578"/>
                        <a:gd name="connsiteX3" fmla="*/ 467831 w 555974"/>
                        <a:gd name="connsiteY3" fmla="*/ 195578 h 195578"/>
                        <a:gd name="connsiteX4" fmla="*/ 0 w 555974"/>
                        <a:gd name="connsiteY4" fmla="*/ 195578 h 195578"/>
                        <a:gd name="connsiteX0" fmla="*/ 0 w 555974"/>
                        <a:gd name="connsiteY0" fmla="*/ 195578 h 195578"/>
                        <a:gd name="connsiteX1" fmla="*/ 112407 w 555974"/>
                        <a:gd name="connsiteY1" fmla="*/ 7628 h 195578"/>
                        <a:gd name="connsiteX2" fmla="*/ 555974 w 555974"/>
                        <a:gd name="connsiteY2" fmla="*/ 41802 h 195578"/>
                        <a:gd name="connsiteX3" fmla="*/ 467831 w 555974"/>
                        <a:gd name="connsiteY3" fmla="*/ 195578 h 195578"/>
                        <a:gd name="connsiteX4" fmla="*/ 0 w 555974"/>
                        <a:gd name="connsiteY4" fmla="*/ 195578 h 195578"/>
                        <a:gd name="connsiteX0" fmla="*/ 0 w 555974"/>
                        <a:gd name="connsiteY0" fmla="*/ 195578 h 200451"/>
                        <a:gd name="connsiteX1" fmla="*/ 112407 w 555974"/>
                        <a:gd name="connsiteY1" fmla="*/ 7628 h 200451"/>
                        <a:gd name="connsiteX2" fmla="*/ 555974 w 555974"/>
                        <a:gd name="connsiteY2" fmla="*/ 41802 h 200451"/>
                        <a:gd name="connsiteX3" fmla="*/ 467831 w 555974"/>
                        <a:gd name="connsiteY3" fmla="*/ 195578 h 200451"/>
                        <a:gd name="connsiteX4" fmla="*/ 0 w 555974"/>
                        <a:gd name="connsiteY4" fmla="*/ 195578 h 200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5974" h="200451">
                          <a:moveTo>
                            <a:pt x="0" y="195578"/>
                          </a:moveTo>
                          <a:lnTo>
                            <a:pt x="112407" y="7628"/>
                          </a:lnTo>
                          <a:cubicBezTo>
                            <a:pt x="315993" y="-24155"/>
                            <a:pt x="398183" y="54478"/>
                            <a:pt x="555974" y="41802"/>
                          </a:cubicBezTo>
                          <a:lnTo>
                            <a:pt x="467831" y="195578"/>
                          </a:lnTo>
                          <a:cubicBezTo>
                            <a:pt x="338759" y="216724"/>
                            <a:pt x="179414" y="160031"/>
                            <a:pt x="0" y="195578"/>
                          </a:cubicBezTo>
                          <a:close/>
                        </a:path>
                      </a:pathLst>
                    </a:custGeom>
                    <a:gradFill>
                      <a:gsLst>
                        <a:gs pos="50000">
                          <a:schemeClr val="bg1"/>
                        </a:gs>
                        <a:gs pos="100000">
                          <a:srgbClr val="7F7F7F"/>
                        </a:gs>
                      </a:gsLst>
                      <a:lin ang="18900000" scaled="1"/>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1200" dirty="0">
                        <a:solidFill>
                          <a:srgbClr val="FFFFFF"/>
                        </a:solidFill>
                        <a:latin typeface="Trebuchet MS"/>
                        <a:ea typeface="Meiryo UI"/>
                      </a:endParaRPr>
                    </a:p>
                  </p:txBody>
                </p:sp>
              </p:grpSp>
            </p:grpSp>
            <p:pic>
              <p:nvPicPr>
                <p:cNvPr id="718" name="Picture 717"/>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a:off x="8063357" y="3260216"/>
                  <a:ext cx="547243" cy="347696"/>
                </a:xfrm>
                <a:prstGeom prst="rect">
                  <a:avLst/>
                </a:prstGeom>
              </p:spPr>
            </p:pic>
          </p:grpSp>
        </p:grpSp>
        <p:pic>
          <p:nvPicPr>
            <p:cNvPr id="704" name="Picture 70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032670" y="5080437"/>
              <a:ext cx="43039" cy="117107"/>
            </a:xfrm>
            <a:prstGeom prst="rect">
              <a:avLst/>
            </a:prstGeom>
          </p:spPr>
        </p:pic>
        <p:pic>
          <p:nvPicPr>
            <p:cNvPr id="705" name="Picture 704"/>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flipH="1">
              <a:off x="5452137" y="4809605"/>
              <a:ext cx="61494" cy="103625"/>
            </a:xfrm>
            <a:prstGeom prst="rect">
              <a:avLst/>
            </a:prstGeom>
          </p:spPr>
        </p:pic>
        <p:pic>
          <p:nvPicPr>
            <p:cNvPr id="706" name="Picture 70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1227658">
              <a:off x="6365153" y="4777933"/>
              <a:ext cx="97279" cy="121889"/>
            </a:xfrm>
            <a:prstGeom prst="rect">
              <a:avLst/>
            </a:prstGeom>
          </p:spPr>
        </p:pic>
        <p:pic>
          <p:nvPicPr>
            <p:cNvPr id="707" name="Picture 70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54093" y="3810873"/>
              <a:ext cx="77182" cy="96709"/>
            </a:xfrm>
            <a:prstGeom prst="rect">
              <a:avLst/>
            </a:prstGeom>
          </p:spPr>
        </p:pic>
        <p:pic>
          <p:nvPicPr>
            <p:cNvPr id="708" name="Picture 707"/>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6102818" y="4437901"/>
              <a:ext cx="36571" cy="89261"/>
            </a:xfrm>
            <a:prstGeom prst="rect">
              <a:avLst/>
            </a:prstGeom>
          </p:spPr>
        </p:pic>
      </p:grpSp>
      <p:sp>
        <p:nvSpPr>
          <p:cNvPr id="39" name="TextBox 38"/>
          <p:cNvSpPr txBox="1"/>
          <p:nvPr/>
        </p:nvSpPr>
        <p:spPr>
          <a:xfrm>
            <a:off x="8894997" y="2264993"/>
            <a:ext cx="1199711" cy="427979"/>
          </a:xfrm>
          <a:prstGeom prst="rect">
            <a:avLst/>
          </a:prstGeom>
          <a:noFill/>
        </p:spPr>
        <p:txBody>
          <a:bodyPr wrap="none" tIns="90000" bIns="90000" rtlCol="0" anchor="t">
            <a:noAutofit/>
          </a:bodyPr>
          <a:lstStyle/>
          <a:p>
            <a:pPr algn="ctr">
              <a:defRPr/>
            </a:pPr>
            <a:r>
              <a:rPr lang="ja-JP" altLang="en-US" sz="1300" dirty="0">
                <a:solidFill>
                  <a:srgbClr val="000000"/>
                </a:solidFill>
                <a:latin typeface="Trebuchet MS"/>
                <a:ea typeface="Meiryo UI"/>
                <a:cs typeface="Arial" pitchFamily="34" charset="0"/>
              </a:rPr>
              <a:t>高度なセキュリティ・災害対応で安心</a:t>
            </a:r>
            <a:endParaRPr lang="en-US" sz="1300" dirty="0">
              <a:solidFill>
                <a:srgbClr val="000000"/>
              </a:solidFill>
              <a:latin typeface="Trebuchet MS"/>
              <a:ea typeface="Meiryo UI"/>
              <a:cs typeface="Arial" pitchFamily="34" charset="0"/>
            </a:endParaRPr>
          </a:p>
        </p:txBody>
      </p:sp>
      <p:sp>
        <p:nvSpPr>
          <p:cNvPr id="40" name="TextBox 39"/>
          <p:cNvSpPr txBox="1"/>
          <p:nvPr/>
        </p:nvSpPr>
        <p:spPr>
          <a:xfrm>
            <a:off x="2490322" y="2323813"/>
            <a:ext cx="1272471" cy="304868"/>
          </a:xfrm>
          <a:prstGeom prst="rect">
            <a:avLst/>
          </a:prstGeom>
          <a:noFill/>
        </p:spPr>
        <p:txBody>
          <a:bodyPr wrap="none" tIns="90000" bIns="90000" rtlCol="0" anchor="t">
            <a:noAutofit/>
          </a:bodyPr>
          <a:lstStyle/>
          <a:p>
            <a:pPr algn="ctr">
              <a:defRPr/>
            </a:pPr>
            <a:r>
              <a:rPr lang="ja-JP" altLang="en-US" sz="1300" dirty="0">
                <a:solidFill>
                  <a:srgbClr val="000000"/>
                </a:solidFill>
                <a:latin typeface="Trebuchet MS"/>
                <a:ea typeface="Meiryo UI"/>
                <a:cs typeface="Arial" pitchFamily="34" charset="0"/>
              </a:rPr>
              <a:t>自動運転で</a:t>
            </a:r>
            <a:r>
              <a:rPr lang="en-US" altLang="ja-JP" sz="1300" dirty="0">
                <a:solidFill>
                  <a:srgbClr val="000000"/>
                </a:solidFill>
                <a:latin typeface="Trebuchet MS"/>
                <a:ea typeface="Meiryo UI"/>
                <a:cs typeface="Arial" pitchFamily="34" charset="0"/>
              </a:rPr>
              <a:t/>
            </a:r>
            <a:br>
              <a:rPr lang="en-US" altLang="ja-JP" sz="1300" dirty="0">
                <a:solidFill>
                  <a:srgbClr val="000000"/>
                </a:solidFill>
                <a:latin typeface="Trebuchet MS"/>
                <a:ea typeface="Meiryo UI"/>
                <a:cs typeface="Arial" pitchFamily="34" charset="0"/>
              </a:rPr>
            </a:br>
            <a:r>
              <a:rPr lang="ja-JP" altLang="en-US" sz="1300" dirty="0">
                <a:solidFill>
                  <a:srgbClr val="000000"/>
                </a:solidFill>
                <a:latin typeface="Trebuchet MS"/>
                <a:ea typeface="Meiryo UI"/>
                <a:cs typeface="Arial" pitchFamily="34" charset="0"/>
              </a:rPr>
              <a:t>交通事故ゼロ</a:t>
            </a:r>
            <a:endParaRPr lang="en-US" sz="1300" dirty="0">
              <a:solidFill>
                <a:srgbClr val="000000"/>
              </a:solidFill>
              <a:latin typeface="Trebuchet MS"/>
              <a:ea typeface="Meiryo UI"/>
              <a:cs typeface="Arial" pitchFamily="34" charset="0"/>
            </a:endParaRPr>
          </a:p>
        </p:txBody>
      </p:sp>
      <p:sp>
        <p:nvSpPr>
          <p:cNvPr id="42" name="TextBox 41"/>
          <p:cNvSpPr txBox="1"/>
          <p:nvPr/>
        </p:nvSpPr>
        <p:spPr>
          <a:xfrm>
            <a:off x="1051641" y="3241270"/>
            <a:ext cx="1528349" cy="427979"/>
          </a:xfrm>
          <a:prstGeom prst="rect">
            <a:avLst/>
          </a:prstGeom>
          <a:noFill/>
        </p:spPr>
        <p:txBody>
          <a:bodyPr wrap="none" tIns="90000" bIns="90000" rtlCol="0" anchor="t">
            <a:noAutofit/>
          </a:bodyPr>
          <a:lstStyle/>
          <a:p>
            <a:pPr algn="ctr">
              <a:defRPr/>
            </a:pPr>
            <a:r>
              <a:rPr lang="ja-JP" altLang="en-US" sz="1300" dirty="0">
                <a:solidFill>
                  <a:srgbClr val="000000"/>
                </a:solidFill>
                <a:latin typeface="Trebuchet MS"/>
                <a:ea typeface="Meiryo UI"/>
                <a:cs typeface="Arial" pitchFamily="34" charset="0"/>
              </a:rPr>
              <a:t>子供やお年寄りの</a:t>
            </a:r>
            <a:r>
              <a:rPr lang="en-US" altLang="ja-JP" sz="1300" dirty="0">
                <a:solidFill>
                  <a:srgbClr val="000000"/>
                </a:solidFill>
                <a:latin typeface="Trebuchet MS"/>
                <a:ea typeface="Meiryo UI"/>
                <a:cs typeface="Arial" pitchFamily="34" charset="0"/>
              </a:rPr>
              <a:t/>
            </a:r>
            <a:br>
              <a:rPr lang="en-US" altLang="ja-JP" sz="1300" dirty="0">
                <a:solidFill>
                  <a:srgbClr val="000000"/>
                </a:solidFill>
                <a:latin typeface="Trebuchet MS"/>
                <a:ea typeface="Meiryo UI"/>
                <a:cs typeface="Arial" pitchFamily="34" charset="0"/>
              </a:rPr>
            </a:br>
            <a:r>
              <a:rPr lang="ja-JP" altLang="en-US" sz="1300" dirty="0">
                <a:solidFill>
                  <a:srgbClr val="000000"/>
                </a:solidFill>
                <a:latin typeface="Trebuchet MS"/>
                <a:ea typeface="Meiryo UI"/>
                <a:cs typeface="Arial" pitchFamily="34" charset="0"/>
              </a:rPr>
              <a:t>見守りサービス</a:t>
            </a:r>
            <a:endParaRPr lang="en-US" sz="1300" dirty="0">
              <a:solidFill>
                <a:srgbClr val="000000"/>
              </a:solidFill>
              <a:latin typeface="Trebuchet MS"/>
              <a:ea typeface="Meiryo UI"/>
              <a:cs typeface="Arial" pitchFamily="34" charset="0"/>
            </a:endParaRPr>
          </a:p>
        </p:txBody>
      </p:sp>
      <p:sp>
        <p:nvSpPr>
          <p:cNvPr id="25" name="TextBox 24"/>
          <p:cNvSpPr txBox="1"/>
          <p:nvPr/>
        </p:nvSpPr>
        <p:spPr>
          <a:xfrm>
            <a:off x="925176" y="5243462"/>
            <a:ext cx="1970697" cy="551090"/>
          </a:xfrm>
          <a:prstGeom prst="rect">
            <a:avLst/>
          </a:prstGeom>
          <a:noFill/>
        </p:spPr>
        <p:txBody>
          <a:bodyPr wrap="none" tIns="90000" bIns="90000" rtlCol="0" anchor="t">
            <a:noAutofit/>
          </a:bodyPr>
          <a:lstStyle/>
          <a:p>
            <a:pPr algn="r">
              <a:defRPr/>
            </a:pPr>
            <a:r>
              <a:rPr lang="ja-JP" altLang="en-US" sz="1300" dirty="0">
                <a:solidFill>
                  <a:srgbClr val="000000"/>
                </a:solidFill>
                <a:latin typeface="Trebuchet MS"/>
                <a:ea typeface="Meiryo UI"/>
                <a:cs typeface="Arial" pitchFamily="34" charset="0"/>
              </a:rPr>
              <a:t>主要拠点とエリア内</a:t>
            </a:r>
            <a:r>
              <a:rPr lang="ja-JP" altLang="en-US" sz="1300" dirty="0" smtClean="0">
                <a:solidFill>
                  <a:srgbClr val="000000"/>
                </a:solidFill>
                <a:latin typeface="Trebuchet MS"/>
                <a:ea typeface="Meiryo UI"/>
                <a:cs typeface="Arial" pitchFamily="34" charset="0"/>
              </a:rPr>
              <a:t>の</a:t>
            </a:r>
            <a:endParaRPr lang="en-US" altLang="ja-JP" sz="1300" dirty="0" smtClean="0">
              <a:solidFill>
                <a:srgbClr val="000000"/>
              </a:solidFill>
              <a:latin typeface="Trebuchet MS"/>
              <a:ea typeface="Meiryo UI"/>
              <a:cs typeface="Arial" pitchFamily="34" charset="0"/>
            </a:endParaRPr>
          </a:p>
          <a:p>
            <a:pPr algn="r">
              <a:defRPr/>
            </a:pPr>
            <a:r>
              <a:rPr lang="ja-JP" altLang="en-US" sz="1300" dirty="0" smtClean="0">
                <a:solidFill>
                  <a:srgbClr val="000000"/>
                </a:solidFill>
                <a:latin typeface="Trebuchet MS"/>
                <a:ea typeface="Meiryo UI"/>
                <a:cs typeface="Arial" pitchFamily="34" charset="0"/>
              </a:rPr>
              <a:t>各地</a:t>
            </a:r>
            <a:r>
              <a:rPr lang="ja-JP" altLang="en-US" sz="1300" dirty="0">
                <a:solidFill>
                  <a:srgbClr val="000000"/>
                </a:solidFill>
                <a:latin typeface="Trebuchet MS"/>
                <a:ea typeface="Meiryo UI"/>
                <a:cs typeface="Arial" pitchFamily="34" charset="0"/>
              </a:rPr>
              <a:t>を結ぶ</a:t>
            </a:r>
            <a:endParaRPr lang="en-US" altLang="ja-JP" sz="1300" dirty="0">
              <a:solidFill>
                <a:srgbClr val="000000"/>
              </a:solidFill>
              <a:latin typeface="Trebuchet MS"/>
              <a:ea typeface="Meiryo UI"/>
              <a:cs typeface="Arial" pitchFamily="34" charset="0"/>
            </a:endParaRPr>
          </a:p>
          <a:p>
            <a:pPr algn="r">
              <a:defRPr/>
            </a:pPr>
            <a:r>
              <a:rPr lang="ja-JP" altLang="en-US" sz="1300" dirty="0">
                <a:solidFill>
                  <a:srgbClr val="000000"/>
                </a:solidFill>
                <a:latin typeface="Trebuchet MS"/>
                <a:ea typeface="Meiryo UI"/>
                <a:cs typeface="Arial" pitchFamily="34" charset="0"/>
              </a:rPr>
              <a:t>オンデマンドバス</a:t>
            </a:r>
            <a:r>
              <a:rPr lang="en-US" altLang="ja-JP" sz="1300" dirty="0" smtClean="0">
                <a:solidFill>
                  <a:srgbClr val="000000"/>
                </a:solidFill>
                <a:latin typeface="Trebuchet MS"/>
                <a:ea typeface="Meiryo UI"/>
                <a:cs typeface="Arial" pitchFamily="34" charset="0"/>
              </a:rPr>
              <a:t>/</a:t>
            </a:r>
          </a:p>
          <a:p>
            <a:pPr algn="r">
              <a:defRPr/>
            </a:pPr>
            <a:r>
              <a:rPr lang="ja-JP" altLang="en-US" sz="1300" dirty="0" smtClean="0">
                <a:solidFill>
                  <a:srgbClr val="000000"/>
                </a:solidFill>
                <a:latin typeface="Trebuchet MS"/>
                <a:ea typeface="Meiryo UI"/>
                <a:cs typeface="Arial" pitchFamily="34" charset="0"/>
              </a:rPr>
              <a:t>相乗り</a:t>
            </a:r>
            <a:r>
              <a:rPr lang="ja-JP" altLang="en-US" sz="1300" dirty="0">
                <a:solidFill>
                  <a:srgbClr val="000000"/>
                </a:solidFill>
                <a:latin typeface="Trebuchet MS"/>
                <a:ea typeface="Meiryo UI"/>
                <a:cs typeface="Arial" pitchFamily="34" charset="0"/>
              </a:rPr>
              <a:t>タクシー</a:t>
            </a:r>
            <a:endParaRPr lang="en-US" sz="1300" dirty="0">
              <a:solidFill>
                <a:srgbClr val="000000"/>
              </a:solidFill>
              <a:latin typeface="Trebuchet MS"/>
              <a:ea typeface="Meiryo UI"/>
              <a:cs typeface="Arial" pitchFamily="34" charset="0"/>
            </a:endParaRPr>
          </a:p>
        </p:txBody>
      </p:sp>
      <p:sp>
        <p:nvSpPr>
          <p:cNvPr id="26" name="TextBox 25"/>
          <p:cNvSpPr txBox="1"/>
          <p:nvPr/>
        </p:nvSpPr>
        <p:spPr>
          <a:xfrm>
            <a:off x="3299367" y="6130773"/>
            <a:ext cx="1535129" cy="427979"/>
          </a:xfrm>
          <a:prstGeom prst="rect">
            <a:avLst/>
          </a:prstGeom>
          <a:noFill/>
        </p:spPr>
        <p:txBody>
          <a:bodyPr wrap="none" tIns="90000" bIns="90000" rtlCol="0" anchor="t">
            <a:noAutofit/>
          </a:bodyPr>
          <a:lstStyle/>
          <a:p>
            <a:pPr algn="r">
              <a:defRPr/>
            </a:pPr>
            <a:r>
              <a:rPr lang="ja-JP" altLang="en-US" sz="1300" dirty="0">
                <a:solidFill>
                  <a:srgbClr val="000000"/>
                </a:solidFill>
                <a:latin typeface="Trebuchet MS"/>
                <a:ea typeface="Meiryo UI"/>
                <a:cs typeface="Arial" pitchFamily="34" charset="0"/>
              </a:rPr>
              <a:t>域内は快適に歩行で生活</a:t>
            </a:r>
            <a:r>
              <a:rPr lang="ja-JP" altLang="en-US" sz="1300" dirty="0" smtClean="0">
                <a:solidFill>
                  <a:srgbClr val="000000"/>
                </a:solidFill>
                <a:latin typeface="Trebuchet MS"/>
                <a:ea typeface="Meiryo UI"/>
                <a:cs typeface="Arial" pitchFamily="34" charset="0"/>
              </a:rPr>
              <a:t>、</a:t>
            </a:r>
            <a:endParaRPr lang="en-US" altLang="ja-JP" sz="1300" dirty="0" smtClean="0">
              <a:solidFill>
                <a:srgbClr val="000000"/>
              </a:solidFill>
              <a:latin typeface="Trebuchet MS"/>
              <a:ea typeface="Meiryo UI"/>
              <a:cs typeface="Arial" pitchFamily="34" charset="0"/>
            </a:endParaRPr>
          </a:p>
          <a:p>
            <a:pPr algn="r">
              <a:defRPr/>
            </a:pPr>
            <a:r>
              <a:rPr lang="ja-JP" altLang="en-US" sz="1300" dirty="0" smtClean="0">
                <a:solidFill>
                  <a:srgbClr val="000000"/>
                </a:solidFill>
                <a:latin typeface="Trebuchet MS"/>
                <a:ea typeface="Meiryo UI"/>
                <a:cs typeface="Arial" pitchFamily="34" charset="0"/>
              </a:rPr>
              <a:t>低速</a:t>
            </a:r>
            <a:r>
              <a:rPr lang="ja-JP" altLang="en-US" sz="1300" dirty="0">
                <a:solidFill>
                  <a:srgbClr val="000000"/>
                </a:solidFill>
                <a:latin typeface="Trebuchet MS"/>
                <a:ea typeface="Meiryo UI"/>
                <a:cs typeface="Arial" pitchFamily="34" charset="0"/>
              </a:rPr>
              <a:t>域内交通でサポート</a:t>
            </a:r>
            <a:endParaRPr lang="en-US" sz="1300" dirty="0">
              <a:solidFill>
                <a:srgbClr val="000000"/>
              </a:solidFill>
              <a:latin typeface="Trebuchet MS"/>
              <a:ea typeface="Meiryo UI"/>
              <a:cs typeface="Arial" pitchFamily="34" charset="0"/>
            </a:endParaRPr>
          </a:p>
        </p:txBody>
      </p:sp>
      <p:sp>
        <p:nvSpPr>
          <p:cNvPr id="288" name="TextBox 287"/>
          <p:cNvSpPr txBox="1"/>
          <p:nvPr/>
        </p:nvSpPr>
        <p:spPr>
          <a:xfrm>
            <a:off x="1138495" y="4536039"/>
            <a:ext cx="1040065" cy="427979"/>
          </a:xfrm>
          <a:prstGeom prst="rect">
            <a:avLst/>
          </a:prstGeom>
          <a:noFill/>
        </p:spPr>
        <p:txBody>
          <a:bodyPr wrap="none" tIns="90000" bIns="90000" rtlCol="0" anchor="t">
            <a:noAutofit/>
          </a:bodyPr>
          <a:lstStyle/>
          <a:p>
            <a:pPr>
              <a:defRPr/>
            </a:pPr>
            <a:r>
              <a:rPr lang="ja-JP" altLang="en-US" sz="1300" dirty="0">
                <a:solidFill>
                  <a:srgbClr val="000000"/>
                </a:solidFill>
                <a:latin typeface="Trebuchet MS"/>
                <a:ea typeface="Meiryo UI"/>
                <a:cs typeface="Arial" pitchFamily="34" charset="0"/>
              </a:rPr>
              <a:t>顔パス乗車</a:t>
            </a:r>
            <a:endParaRPr lang="en-US" sz="1300" dirty="0">
              <a:solidFill>
                <a:srgbClr val="000000"/>
              </a:solidFill>
              <a:latin typeface="Trebuchet MS"/>
              <a:ea typeface="Meiryo UI"/>
              <a:cs typeface="Arial" pitchFamily="34" charset="0"/>
            </a:endParaRPr>
          </a:p>
        </p:txBody>
      </p:sp>
      <p:sp>
        <p:nvSpPr>
          <p:cNvPr id="36" name="TextBox 35"/>
          <p:cNvSpPr txBox="1"/>
          <p:nvPr/>
        </p:nvSpPr>
        <p:spPr>
          <a:xfrm>
            <a:off x="9478582" y="2875104"/>
            <a:ext cx="1052968" cy="427979"/>
          </a:xfrm>
          <a:prstGeom prst="rect">
            <a:avLst/>
          </a:prstGeom>
          <a:noFill/>
        </p:spPr>
        <p:txBody>
          <a:bodyPr wrap="none" tIns="90000" bIns="90000" rtlCol="0" anchor="t">
            <a:noAutofit/>
          </a:bodyPr>
          <a:lstStyle/>
          <a:p>
            <a:pPr>
              <a:defRPr/>
            </a:pPr>
            <a:r>
              <a:rPr lang="ja-JP" altLang="en-US" sz="1300" dirty="0">
                <a:solidFill>
                  <a:srgbClr val="000000"/>
                </a:solidFill>
                <a:latin typeface="Trebuchet MS"/>
                <a:ea typeface="Meiryo UI"/>
                <a:cs typeface="Arial" pitchFamily="34" charset="0"/>
              </a:rPr>
              <a:t>自宅への</a:t>
            </a:r>
            <a:r>
              <a:rPr lang="en-US" altLang="ja-JP" sz="1300" dirty="0">
                <a:solidFill>
                  <a:srgbClr val="000000"/>
                </a:solidFill>
                <a:latin typeface="Trebuchet MS"/>
                <a:ea typeface="Meiryo UI"/>
                <a:cs typeface="Arial" pitchFamily="34" charset="0"/>
              </a:rPr>
              <a:t/>
            </a:r>
            <a:br>
              <a:rPr lang="en-US" altLang="ja-JP" sz="1300" dirty="0">
                <a:solidFill>
                  <a:srgbClr val="000000"/>
                </a:solidFill>
                <a:latin typeface="Trebuchet MS"/>
                <a:ea typeface="Meiryo UI"/>
                <a:cs typeface="Arial" pitchFamily="34" charset="0"/>
              </a:rPr>
            </a:br>
            <a:r>
              <a:rPr lang="ja-JP" altLang="en-US" sz="1300" dirty="0">
                <a:solidFill>
                  <a:srgbClr val="000000"/>
                </a:solidFill>
                <a:latin typeface="Trebuchet MS"/>
                <a:ea typeface="Meiryo UI"/>
                <a:cs typeface="Arial" pitchFamily="34" charset="0"/>
              </a:rPr>
              <a:t>ドローンデリバリー</a:t>
            </a:r>
            <a:endParaRPr lang="en-US" sz="1300" dirty="0">
              <a:solidFill>
                <a:srgbClr val="000000"/>
              </a:solidFill>
              <a:latin typeface="Trebuchet MS"/>
              <a:ea typeface="Meiryo UI"/>
              <a:cs typeface="Arial" pitchFamily="34" charset="0"/>
            </a:endParaRPr>
          </a:p>
        </p:txBody>
      </p:sp>
      <p:grpSp>
        <p:nvGrpSpPr>
          <p:cNvPr id="182" name="グループ化 181"/>
          <p:cNvGrpSpPr/>
          <p:nvPr/>
        </p:nvGrpSpPr>
        <p:grpSpPr>
          <a:xfrm>
            <a:off x="7463526" y="5341413"/>
            <a:ext cx="1334348" cy="878405"/>
            <a:chOff x="7443575" y="5471674"/>
            <a:chExt cx="1334348" cy="878405"/>
          </a:xfrm>
          <a:effectLst>
            <a:glow rad="63500">
              <a:schemeClr val="bg1"/>
            </a:glow>
          </a:effectLst>
        </p:grpSpPr>
        <p:sp>
          <p:nvSpPr>
            <p:cNvPr id="180" name="Isosceles Triangle 179"/>
            <p:cNvSpPr/>
            <p:nvPr/>
          </p:nvSpPr>
          <p:spPr>
            <a:xfrm rot="18145411">
              <a:off x="7608561" y="5471606"/>
              <a:ext cx="178314" cy="508285"/>
            </a:xfrm>
            <a:prstGeom prst="triangle">
              <a:avLst>
                <a:gd name="adj" fmla="val 97314"/>
              </a:avLst>
            </a:prstGeom>
            <a:solidFill>
              <a:srgbClr val="EB971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defRPr/>
              </a:pPr>
              <a:endParaRPr lang="en-US" sz="1400" dirty="0">
                <a:solidFill>
                  <a:srgbClr val="000000"/>
                </a:solidFill>
                <a:latin typeface="Trebuchet MS"/>
                <a:ea typeface="Meiryo UI"/>
                <a:cs typeface="Arial" pitchFamily="34" charset="0"/>
              </a:endParaRPr>
            </a:p>
          </p:txBody>
        </p:sp>
        <p:pic>
          <p:nvPicPr>
            <p:cNvPr id="280" name="Picture 279"/>
            <p:cNvPicPr>
              <a:picLocks noChangeAspect="1"/>
            </p:cNvPicPr>
            <p:nvPr/>
          </p:nvPicPr>
          <p:blipFill rotWithShape="1">
            <a:blip r:embed="rId45"/>
            <a:srcRect l="15760" r="6780"/>
            <a:stretch/>
          </p:blipFill>
          <p:spPr>
            <a:xfrm>
              <a:off x="7875389" y="5471674"/>
              <a:ext cx="902534" cy="878405"/>
            </a:xfrm>
            <a:prstGeom prst="ellipse">
              <a:avLst/>
            </a:prstGeom>
            <a:solidFill>
              <a:schemeClr val="bg1"/>
            </a:solidFill>
            <a:ln w="76200">
              <a:solidFill>
                <a:srgbClr val="EB971D"/>
              </a:solidFill>
            </a:ln>
            <a:effectLst/>
          </p:spPr>
        </p:pic>
      </p:grpSp>
      <p:sp>
        <p:nvSpPr>
          <p:cNvPr id="297" name="TextBox 296"/>
          <p:cNvSpPr txBox="1"/>
          <p:nvPr/>
        </p:nvSpPr>
        <p:spPr>
          <a:xfrm>
            <a:off x="8773531" y="5888661"/>
            <a:ext cx="1706725" cy="427979"/>
          </a:xfrm>
          <a:prstGeom prst="rect">
            <a:avLst/>
          </a:prstGeom>
          <a:noFill/>
        </p:spPr>
        <p:txBody>
          <a:bodyPr wrap="none" tIns="90000" bIns="90000" rtlCol="0" anchor="t">
            <a:noAutofit/>
          </a:bodyPr>
          <a:lstStyle/>
          <a:p>
            <a:pPr>
              <a:defRPr/>
            </a:pPr>
            <a:r>
              <a:rPr lang="ja-JP" altLang="en-US" sz="1300" dirty="0">
                <a:solidFill>
                  <a:srgbClr val="000000"/>
                </a:solidFill>
                <a:latin typeface="Trebuchet MS"/>
                <a:ea typeface="Meiryo UI"/>
                <a:cs typeface="Arial" pitchFamily="34" charset="0"/>
              </a:rPr>
              <a:t>育児関連</a:t>
            </a:r>
            <a:r>
              <a:rPr lang="ja-JP" altLang="en-US" sz="1300" dirty="0" smtClean="0">
                <a:solidFill>
                  <a:srgbClr val="000000"/>
                </a:solidFill>
                <a:latin typeface="Trebuchet MS"/>
                <a:ea typeface="Meiryo UI"/>
                <a:cs typeface="Arial" pitchFamily="34" charset="0"/>
              </a:rPr>
              <a:t>施設向け</a:t>
            </a:r>
            <a:endParaRPr lang="en-US" altLang="ja-JP" sz="1300" dirty="0" smtClean="0">
              <a:solidFill>
                <a:srgbClr val="000000"/>
              </a:solidFill>
              <a:latin typeface="Trebuchet MS"/>
              <a:ea typeface="Meiryo UI"/>
              <a:cs typeface="Arial" pitchFamily="34" charset="0"/>
            </a:endParaRPr>
          </a:p>
          <a:p>
            <a:pPr>
              <a:defRPr/>
            </a:pPr>
            <a:r>
              <a:rPr lang="en-US" altLang="ja-JP" sz="1300" dirty="0" smtClean="0">
                <a:solidFill>
                  <a:srgbClr val="000000"/>
                </a:solidFill>
                <a:latin typeface="Trebuchet MS"/>
                <a:ea typeface="Meiryo UI"/>
                <a:cs typeface="Arial" pitchFamily="34" charset="0"/>
              </a:rPr>
              <a:t>AR</a:t>
            </a:r>
            <a:r>
              <a:rPr lang="ja-JP" altLang="en-US" sz="1300" dirty="0" smtClean="0">
                <a:solidFill>
                  <a:srgbClr val="000000"/>
                </a:solidFill>
                <a:latin typeface="Trebuchet MS"/>
                <a:ea typeface="Meiryo UI"/>
                <a:cs typeface="Arial" pitchFamily="34" charset="0"/>
              </a:rPr>
              <a:t>道案内</a:t>
            </a:r>
            <a:r>
              <a:rPr lang="en-US" sz="1300" dirty="0" smtClean="0">
                <a:solidFill>
                  <a:srgbClr val="000000"/>
                </a:solidFill>
                <a:latin typeface="Trebuchet MS"/>
                <a:ea typeface="Meiryo UI"/>
                <a:cs typeface="Arial" pitchFamily="34" charset="0"/>
              </a:rPr>
              <a:t>(</a:t>
            </a:r>
            <a:r>
              <a:rPr lang="ja-JP" altLang="en-US" sz="1300" dirty="0">
                <a:solidFill>
                  <a:srgbClr val="000000"/>
                </a:solidFill>
                <a:latin typeface="Trebuchet MS"/>
                <a:ea typeface="Meiryo UI"/>
                <a:cs typeface="Arial" pitchFamily="34" charset="0"/>
              </a:rPr>
              <a:t>統合アプリ</a:t>
            </a:r>
            <a:r>
              <a:rPr lang="en-US" sz="1300" dirty="0">
                <a:solidFill>
                  <a:srgbClr val="000000"/>
                </a:solidFill>
                <a:latin typeface="Trebuchet MS"/>
                <a:ea typeface="Meiryo UI"/>
                <a:cs typeface="Arial" pitchFamily="34" charset="0"/>
              </a:rPr>
              <a:t>)</a:t>
            </a:r>
          </a:p>
        </p:txBody>
      </p:sp>
      <p:sp>
        <p:nvSpPr>
          <p:cNvPr id="312" name="TextBox 311"/>
          <p:cNvSpPr txBox="1"/>
          <p:nvPr/>
        </p:nvSpPr>
        <p:spPr>
          <a:xfrm>
            <a:off x="6137076" y="1930528"/>
            <a:ext cx="1158991" cy="427979"/>
          </a:xfrm>
          <a:prstGeom prst="rect">
            <a:avLst/>
          </a:prstGeom>
          <a:noFill/>
        </p:spPr>
        <p:txBody>
          <a:bodyPr wrap="none" tIns="90000" bIns="90000" rtlCol="0" anchor="t">
            <a:noAutofit/>
          </a:bodyPr>
          <a:lstStyle/>
          <a:p>
            <a:pPr algn="ctr">
              <a:defRPr/>
            </a:pPr>
            <a:r>
              <a:rPr lang="ja-JP" altLang="en-US" sz="1300" dirty="0">
                <a:solidFill>
                  <a:srgbClr val="000000"/>
                </a:solidFill>
                <a:latin typeface="Trebuchet MS"/>
                <a:ea typeface="Meiryo UI"/>
                <a:cs typeface="Arial" pitchFamily="34" charset="0"/>
              </a:rPr>
              <a:t>教育施設との連携</a:t>
            </a:r>
            <a:endParaRPr lang="en-US" sz="1300" dirty="0">
              <a:solidFill>
                <a:srgbClr val="000000"/>
              </a:solidFill>
              <a:latin typeface="Trebuchet MS"/>
              <a:ea typeface="Meiryo UI"/>
              <a:cs typeface="Arial" pitchFamily="34" charset="0"/>
            </a:endParaRPr>
          </a:p>
        </p:txBody>
      </p:sp>
      <p:sp>
        <p:nvSpPr>
          <p:cNvPr id="313" name="TextBox 312"/>
          <p:cNvSpPr txBox="1"/>
          <p:nvPr/>
        </p:nvSpPr>
        <p:spPr>
          <a:xfrm>
            <a:off x="6431209" y="3654238"/>
            <a:ext cx="656024" cy="256003"/>
          </a:xfrm>
          <a:prstGeom prst="rect">
            <a:avLst/>
          </a:prstGeom>
          <a:noFill/>
        </p:spPr>
        <p:txBody>
          <a:bodyPr wrap="square" tIns="90000" bIns="90000" rtlCol="0" anchor="t">
            <a:noAutofit/>
          </a:bodyPr>
          <a:lstStyle/>
          <a:p>
            <a:pPr algn="ctr">
              <a:defRPr/>
            </a:pPr>
            <a:r>
              <a:rPr lang="ja-JP" altLang="en-US" sz="1600" b="1" dirty="0">
                <a:solidFill>
                  <a:schemeClr val="bg1"/>
                </a:solidFill>
                <a:effectLst>
                  <a:glow rad="127000">
                    <a:schemeClr val="tx2">
                      <a:lumMod val="50000"/>
                    </a:schemeClr>
                  </a:glow>
                </a:effectLst>
                <a:latin typeface="Trebuchet MS"/>
                <a:ea typeface="Meiryo UI"/>
                <a:cs typeface="Arial" pitchFamily="34" charset="0"/>
              </a:rPr>
              <a:t>学校</a:t>
            </a:r>
            <a:endParaRPr lang="en-US" sz="1600" b="1" dirty="0">
              <a:solidFill>
                <a:schemeClr val="bg1"/>
              </a:solidFill>
              <a:effectLst>
                <a:glow rad="127000">
                  <a:schemeClr val="tx2">
                    <a:lumMod val="50000"/>
                  </a:schemeClr>
                </a:glow>
              </a:effectLst>
              <a:latin typeface="Trebuchet MS"/>
              <a:ea typeface="Meiryo UI"/>
              <a:cs typeface="Arial" pitchFamily="34" charset="0"/>
            </a:endParaRPr>
          </a:p>
        </p:txBody>
      </p:sp>
      <p:sp>
        <p:nvSpPr>
          <p:cNvPr id="314" name="TextBox 313"/>
          <p:cNvSpPr txBox="1"/>
          <p:nvPr/>
        </p:nvSpPr>
        <p:spPr>
          <a:xfrm>
            <a:off x="5154390" y="3542608"/>
            <a:ext cx="1061957" cy="217951"/>
          </a:xfrm>
          <a:prstGeom prst="rect">
            <a:avLst/>
          </a:prstGeom>
          <a:noFill/>
        </p:spPr>
        <p:txBody>
          <a:bodyPr wrap="square" tIns="90000" bIns="90000" rtlCol="0" anchor="t">
            <a:noAutofit/>
          </a:bodyPr>
          <a:lstStyle/>
          <a:p>
            <a:pPr algn="ctr">
              <a:defRPr/>
            </a:pPr>
            <a:r>
              <a:rPr lang="ja-JP" altLang="en-US" sz="1600" b="1" dirty="0">
                <a:solidFill>
                  <a:schemeClr val="bg1"/>
                </a:solidFill>
                <a:effectLst>
                  <a:glow rad="127000">
                    <a:schemeClr val="tx2">
                      <a:lumMod val="50000"/>
                    </a:schemeClr>
                  </a:glow>
                </a:effectLst>
                <a:latin typeface="Trebuchet MS"/>
                <a:ea typeface="Meiryo UI"/>
                <a:cs typeface="Arial" pitchFamily="34" charset="0"/>
              </a:rPr>
              <a:t>公共施設</a:t>
            </a:r>
            <a:endParaRPr lang="en-US" sz="1600" b="1" dirty="0">
              <a:solidFill>
                <a:schemeClr val="bg1"/>
              </a:solidFill>
              <a:effectLst>
                <a:glow rad="127000">
                  <a:schemeClr val="tx2">
                    <a:lumMod val="50000"/>
                  </a:schemeClr>
                </a:glow>
              </a:effectLst>
              <a:latin typeface="Trebuchet MS"/>
              <a:ea typeface="Meiryo UI"/>
              <a:cs typeface="Arial" pitchFamily="34" charset="0"/>
            </a:endParaRPr>
          </a:p>
        </p:txBody>
      </p:sp>
      <p:sp>
        <p:nvSpPr>
          <p:cNvPr id="316" name="TextBox 315"/>
          <p:cNvSpPr txBox="1"/>
          <p:nvPr/>
        </p:nvSpPr>
        <p:spPr>
          <a:xfrm>
            <a:off x="6985718" y="4959498"/>
            <a:ext cx="1128322" cy="256003"/>
          </a:xfrm>
          <a:prstGeom prst="rect">
            <a:avLst/>
          </a:prstGeom>
          <a:noFill/>
        </p:spPr>
        <p:txBody>
          <a:bodyPr wrap="square" tIns="90000" bIns="90000" rtlCol="0" anchor="t">
            <a:noAutofit/>
          </a:bodyPr>
          <a:lstStyle/>
          <a:p>
            <a:pPr algn="ctr">
              <a:defRPr/>
            </a:pPr>
            <a:r>
              <a:rPr lang="ja-JP" altLang="en-US" sz="1600" b="1" dirty="0">
                <a:solidFill>
                  <a:schemeClr val="bg1"/>
                </a:solidFill>
                <a:effectLst>
                  <a:glow rad="127000">
                    <a:schemeClr val="tx2">
                      <a:lumMod val="50000"/>
                    </a:schemeClr>
                  </a:glow>
                </a:effectLst>
                <a:latin typeface="Trebuchet MS"/>
                <a:ea typeface="Meiryo UI"/>
                <a:cs typeface="Arial" pitchFamily="34" charset="0"/>
              </a:rPr>
              <a:t>商業施設</a:t>
            </a:r>
            <a:endParaRPr lang="en-US" sz="1600" b="1" dirty="0">
              <a:solidFill>
                <a:schemeClr val="bg1"/>
              </a:solidFill>
              <a:effectLst>
                <a:glow rad="127000">
                  <a:schemeClr val="tx2">
                    <a:lumMod val="50000"/>
                  </a:schemeClr>
                </a:glow>
              </a:effectLst>
              <a:latin typeface="Trebuchet MS"/>
              <a:ea typeface="Meiryo UI"/>
              <a:cs typeface="Arial" pitchFamily="34" charset="0"/>
            </a:endParaRPr>
          </a:p>
        </p:txBody>
      </p:sp>
      <p:sp>
        <p:nvSpPr>
          <p:cNvPr id="320" name="TextBox 319"/>
          <p:cNvSpPr txBox="1"/>
          <p:nvPr/>
        </p:nvSpPr>
        <p:spPr>
          <a:xfrm>
            <a:off x="4676205" y="1900626"/>
            <a:ext cx="1167703" cy="427979"/>
          </a:xfrm>
          <a:prstGeom prst="rect">
            <a:avLst/>
          </a:prstGeom>
          <a:noFill/>
        </p:spPr>
        <p:txBody>
          <a:bodyPr wrap="none" tIns="90000" bIns="90000" rtlCol="0" anchor="t">
            <a:noAutofit/>
          </a:bodyPr>
          <a:lstStyle/>
          <a:p>
            <a:pPr algn="ctr">
              <a:defRPr/>
            </a:pPr>
            <a:r>
              <a:rPr lang="ja-JP" altLang="en-US" sz="1200" dirty="0">
                <a:solidFill>
                  <a:srgbClr val="000000"/>
                </a:solidFill>
                <a:latin typeface="Trebuchet MS"/>
                <a:ea typeface="Meiryo UI"/>
                <a:cs typeface="Arial" pitchFamily="34" charset="0"/>
              </a:rPr>
              <a:t>公共施設との連携</a:t>
            </a:r>
            <a:endParaRPr lang="en-US" sz="1200" dirty="0">
              <a:solidFill>
                <a:srgbClr val="000000"/>
              </a:solidFill>
              <a:latin typeface="Trebuchet MS"/>
              <a:ea typeface="Meiryo UI"/>
              <a:cs typeface="Arial" pitchFamily="34" charset="0"/>
            </a:endParaRPr>
          </a:p>
        </p:txBody>
      </p:sp>
      <p:sp>
        <p:nvSpPr>
          <p:cNvPr id="325" name="TextBox 324"/>
          <p:cNvSpPr txBox="1"/>
          <p:nvPr/>
        </p:nvSpPr>
        <p:spPr>
          <a:xfrm>
            <a:off x="6970662" y="6370836"/>
            <a:ext cx="1430621" cy="427979"/>
          </a:xfrm>
          <a:prstGeom prst="rect">
            <a:avLst/>
          </a:prstGeom>
          <a:noFill/>
        </p:spPr>
        <p:txBody>
          <a:bodyPr wrap="none" tIns="90000" bIns="90000" rtlCol="0" anchor="t">
            <a:noAutofit/>
          </a:bodyPr>
          <a:lstStyle/>
          <a:p>
            <a:pPr algn="ctr">
              <a:defRPr/>
            </a:pPr>
            <a:r>
              <a:rPr lang="ja-JP" altLang="en-US" sz="1300" dirty="0">
                <a:solidFill>
                  <a:srgbClr val="000000"/>
                </a:solidFill>
                <a:latin typeface="Trebuchet MS"/>
                <a:ea typeface="Meiryo UI"/>
                <a:cs typeface="Arial" pitchFamily="34" charset="0"/>
              </a:rPr>
              <a:t>医療</a:t>
            </a:r>
            <a:r>
              <a:rPr lang="ja-JP" altLang="en-US" sz="1300" dirty="0" smtClean="0">
                <a:solidFill>
                  <a:srgbClr val="000000"/>
                </a:solidFill>
                <a:latin typeface="Trebuchet MS"/>
                <a:ea typeface="Meiryo UI"/>
                <a:cs typeface="Arial" pitchFamily="34" charset="0"/>
              </a:rPr>
              <a:t>施設との連携</a:t>
            </a:r>
            <a:endParaRPr lang="en-US" sz="1300" dirty="0">
              <a:solidFill>
                <a:srgbClr val="000000"/>
              </a:solidFill>
              <a:latin typeface="Trebuchet MS"/>
              <a:ea typeface="Meiryo UI"/>
              <a:cs typeface="Arial" pitchFamily="34" charset="0"/>
            </a:endParaRPr>
          </a:p>
        </p:txBody>
      </p:sp>
      <p:sp>
        <p:nvSpPr>
          <p:cNvPr id="308" name="TextBox 307"/>
          <p:cNvSpPr txBox="1"/>
          <p:nvPr/>
        </p:nvSpPr>
        <p:spPr>
          <a:xfrm>
            <a:off x="7893454" y="3954320"/>
            <a:ext cx="669409" cy="256003"/>
          </a:xfrm>
          <a:prstGeom prst="rect">
            <a:avLst/>
          </a:prstGeom>
          <a:noFill/>
        </p:spPr>
        <p:txBody>
          <a:bodyPr wrap="square" tIns="90000" bIns="90000" rtlCol="0" anchor="t">
            <a:noAutofit/>
          </a:bodyPr>
          <a:lstStyle/>
          <a:p>
            <a:pPr algn="ctr">
              <a:defRPr/>
            </a:pPr>
            <a:r>
              <a:rPr lang="ja-JP" altLang="en-US" sz="1600" b="1" dirty="0">
                <a:solidFill>
                  <a:schemeClr val="bg1"/>
                </a:solidFill>
                <a:effectLst>
                  <a:glow rad="127000">
                    <a:schemeClr val="tx2">
                      <a:lumMod val="50000"/>
                    </a:schemeClr>
                  </a:glow>
                </a:effectLst>
                <a:latin typeface="Trebuchet MS"/>
                <a:ea typeface="Meiryo UI"/>
                <a:cs typeface="Arial" pitchFamily="34" charset="0"/>
              </a:rPr>
              <a:t>住宅</a:t>
            </a:r>
            <a:endParaRPr lang="en-US" sz="1600" b="1" dirty="0">
              <a:solidFill>
                <a:schemeClr val="bg1"/>
              </a:solidFill>
              <a:effectLst>
                <a:glow rad="127000">
                  <a:schemeClr val="tx2">
                    <a:lumMod val="50000"/>
                  </a:schemeClr>
                </a:glow>
              </a:effectLst>
              <a:latin typeface="Trebuchet MS"/>
              <a:ea typeface="Meiryo UI"/>
              <a:cs typeface="Arial" pitchFamily="34" charset="0"/>
            </a:endParaRPr>
          </a:p>
        </p:txBody>
      </p:sp>
      <p:sp>
        <p:nvSpPr>
          <p:cNvPr id="368" name="TextBox 367"/>
          <p:cNvSpPr txBox="1"/>
          <p:nvPr/>
        </p:nvSpPr>
        <p:spPr>
          <a:xfrm>
            <a:off x="10001655" y="4075721"/>
            <a:ext cx="1052968" cy="427979"/>
          </a:xfrm>
          <a:prstGeom prst="rect">
            <a:avLst/>
          </a:prstGeom>
          <a:noFill/>
        </p:spPr>
        <p:txBody>
          <a:bodyPr wrap="square" tIns="90000" bIns="90000" rtlCol="0" anchor="t">
            <a:noAutofit/>
          </a:bodyPr>
          <a:lstStyle/>
          <a:p>
            <a:pPr algn="ctr">
              <a:defRPr/>
            </a:pPr>
            <a:r>
              <a:rPr lang="ja-JP" altLang="en-US" sz="1200" dirty="0">
                <a:solidFill>
                  <a:srgbClr val="000000"/>
                </a:solidFill>
                <a:latin typeface="Trebuchet MS"/>
                <a:ea typeface="Meiryo UI"/>
                <a:cs typeface="Arial" pitchFamily="34" charset="0"/>
              </a:rPr>
              <a:t>電力自給</a:t>
            </a:r>
            <a:endParaRPr lang="en-US" sz="1200" dirty="0">
              <a:solidFill>
                <a:srgbClr val="000000"/>
              </a:solidFill>
              <a:latin typeface="Trebuchet MS"/>
              <a:ea typeface="Meiryo UI"/>
              <a:cs typeface="Arial" pitchFamily="34" charset="0"/>
            </a:endParaRPr>
          </a:p>
        </p:txBody>
      </p:sp>
      <p:sp>
        <p:nvSpPr>
          <p:cNvPr id="371" name="TextBox 370"/>
          <p:cNvSpPr txBox="1"/>
          <p:nvPr/>
        </p:nvSpPr>
        <p:spPr>
          <a:xfrm>
            <a:off x="9771130" y="5190078"/>
            <a:ext cx="1052968" cy="427979"/>
          </a:xfrm>
          <a:prstGeom prst="rect">
            <a:avLst/>
          </a:prstGeom>
          <a:noFill/>
        </p:spPr>
        <p:txBody>
          <a:bodyPr wrap="square" tIns="90000" bIns="90000" rtlCol="0" anchor="t">
            <a:noAutofit/>
          </a:bodyPr>
          <a:lstStyle/>
          <a:p>
            <a:pPr algn="ctr">
              <a:defRPr/>
            </a:pPr>
            <a:r>
              <a:rPr lang="en-US" altLang="ja-JP" sz="1300" dirty="0">
                <a:solidFill>
                  <a:srgbClr val="000000"/>
                </a:solidFill>
                <a:latin typeface="Trebuchet MS"/>
                <a:ea typeface="Meiryo UI"/>
                <a:cs typeface="Arial" pitchFamily="34" charset="0"/>
              </a:rPr>
              <a:t>EV</a:t>
            </a:r>
            <a:r>
              <a:rPr lang="ja-JP" altLang="en-US" sz="1300" dirty="0">
                <a:solidFill>
                  <a:srgbClr val="000000"/>
                </a:solidFill>
                <a:latin typeface="Trebuchet MS"/>
                <a:ea typeface="Meiryo UI"/>
                <a:cs typeface="Arial" pitchFamily="34" charset="0"/>
              </a:rPr>
              <a:t>バス</a:t>
            </a:r>
            <a:endParaRPr lang="en-US" sz="1300" dirty="0">
              <a:solidFill>
                <a:srgbClr val="000000"/>
              </a:solidFill>
              <a:latin typeface="Trebuchet MS"/>
              <a:ea typeface="Meiryo UI"/>
              <a:cs typeface="Arial" pitchFamily="34" charset="0"/>
            </a:endParaRPr>
          </a:p>
        </p:txBody>
      </p:sp>
      <p:sp>
        <p:nvSpPr>
          <p:cNvPr id="398" name="TextBox 307"/>
          <p:cNvSpPr txBox="1"/>
          <p:nvPr/>
        </p:nvSpPr>
        <p:spPr>
          <a:xfrm>
            <a:off x="4098626" y="3953564"/>
            <a:ext cx="669409" cy="256003"/>
          </a:xfrm>
          <a:prstGeom prst="rect">
            <a:avLst/>
          </a:prstGeom>
          <a:noFill/>
        </p:spPr>
        <p:txBody>
          <a:bodyPr wrap="square" tIns="90000" bIns="90000" rtlCol="0" anchor="t">
            <a:noAutofit/>
          </a:bodyPr>
          <a:lstStyle/>
          <a:p>
            <a:pPr algn="ctr">
              <a:defRPr/>
            </a:pPr>
            <a:r>
              <a:rPr lang="ja-JP" altLang="en-US" sz="1600" b="1" dirty="0">
                <a:solidFill>
                  <a:schemeClr val="bg1"/>
                </a:solidFill>
                <a:effectLst>
                  <a:glow rad="127000">
                    <a:schemeClr val="tx2">
                      <a:lumMod val="50000"/>
                    </a:schemeClr>
                  </a:glow>
                </a:effectLst>
                <a:latin typeface="Trebuchet MS"/>
                <a:ea typeface="Meiryo UI"/>
                <a:cs typeface="Arial" pitchFamily="34" charset="0"/>
              </a:rPr>
              <a:t>住宅</a:t>
            </a:r>
            <a:endParaRPr lang="en-US" sz="1600" b="1" dirty="0">
              <a:solidFill>
                <a:schemeClr val="bg1"/>
              </a:solidFill>
              <a:effectLst>
                <a:glow rad="127000">
                  <a:schemeClr val="tx2">
                    <a:lumMod val="50000"/>
                  </a:schemeClr>
                </a:glow>
              </a:effectLst>
              <a:latin typeface="Trebuchet MS"/>
              <a:ea typeface="Meiryo UI"/>
              <a:cs typeface="Arial" pitchFamily="34" charset="0"/>
            </a:endParaRPr>
          </a:p>
        </p:txBody>
      </p:sp>
      <p:sp>
        <p:nvSpPr>
          <p:cNvPr id="399" name="TextBox 315"/>
          <p:cNvSpPr txBox="1"/>
          <p:nvPr/>
        </p:nvSpPr>
        <p:spPr>
          <a:xfrm>
            <a:off x="5996937" y="4296976"/>
            <a:ext cx="1128322" cy="256003"/>
          </a:xfrm>
          <a:prstGeom prst="rect">
            <a:avLst/>
          </a:prstGeom>
          <a:noFill/>
        </p:spPr>
        <p:txBody>
          <a:bodyPr wrap="square" tIns="90000" bIns="90000" rtlCol="0" anchor="t">
            <a:noAutofit/>
          </a:bodyPr>
          <a:lstStyle/>
          <a:p>
            <a:pPr algn="ctr">
              <a:defRPr/>
            </a:pPr>
            <a:r>
              <a:rPr lang="ja-JP" altLang="en-US" sz="1600" b="1" dirty="0">
                <a:solidFill>
                  <a:schemeClr val="bg1"/>
                </a:solidFill>
                <a:effectLst>
                  <a:glow rad="127000">
                    <a:schemeClr val="tx2">
                      <a:lumMod val="50000"/>
                    </a:schemeClr>
                  </a:glow>
                </a:effectLst>
                <a:latin typeface="Trebuchet MS"/>
                <a:ea typeface="Meiryo UI"/>
                <a:cs typeface="Arial" pitchFamily="34" charset="0"/>
              </a:rPr>
              <a:t>医療</a:t>
            </a:r>
            <a:r>
              <a:rPr lang="ja-JP" altLang="en-US" sz="1600" b="1" dirty="0" smtClean="0">
                <a:solidFill>
                  <a:schemeClr val="bg1"/>
                </a:solidFill>
                <a:effectLst>
                  <a:glow rad="127000">
                    <a:schemeClr val="tx2">
                      <a:lumMod val="50000"/>
                    </a:schemeClr>
                  </a:glow>
                </a:effectLst>
                <a:latin typeface="Trebuchet MS"/>
                <a:ea typeface="Meiryo UI"/>
                <a:cs typeface="Arial" pitchFamily="34" charset="0"/>
              </a:rPr>
              <a:t>施設</a:t>
            </a:r>
            <a:endParaRPr lang="en-US" sz="1600" b="1" dirty="0">
              <a:solidFill>
                <a:schemeClr val="bg1"/>
              </a:solidFill>
              <a:effectLst>
                <a:glow rad="127000">
                  <a:schemeClr val="tx2">
                    <a:lumMod val="50000"/>
                  </a:schemeClr>
                </a:glow>
              </a:effectLst>
              <a:latin typeface="Trebuchet MS"/>
              <a:ea typeface="Meiryo UI"/>
              <a:cs typeface="Arial" pitchFamily="34" charset="0"/>
            </a:endParaRPr>
          </a:p>
        </p:txBody>
      </p:sp>
      <p:sp>
        <p:nvSpPr>
          <p:cNvPr id="403" name="Oval 20"/>
          <p:cNvSpPr>
            <a:spLocks noChangeArrowheads="1"/>
          </p:cNvSpPr>
          <p:nvPr/>
        </p:nvSpPr>
        <p:spPr bwMode="auto">
          <a:xfrm>
            <a:off x="8865692" y="1592693"/>
            <a:ext cx="244042" cy="244042"/>
          </a:xfrm>
          <a:prstGeom prst="ellipse">
            <a:avLst/>
          </a:prstGeom>
          <a:solidFill>
            <a:schemeClr val="tx2"/>
          </a:solidFill>
          <a:ln>
            <a:noFill/>
          </a:ln>
        </p:spPr>
        <p:txBody>
          <a:bodyPr vert="horz" wrap="square" lIns="108000" tIns="0" rIns="144000" bIns="0" numCol="1" anchor="ctr" anchorCtr="0" compatLnSpc="1">
            <a:prstTxWarp prst="textNoShape">
              <a:avLst/>
            </a:prstTxWarp>
          </a:bodyPr>
          <a:lstStyle/>
          <a:p>
            <a:pPr algn="ctr">
              <a:defRPr/>
            </a:pPr>
            <a:r>
              <a:rPr kumimoji="0" lang="en-US" dirty="0" smtClean="0">
                <a:solidFill>
                  <a:srgbClr val="FFFFFF"/>
                </a:solidFill>
                <a:latin typeface="Trebuchet MS"/>
                <a:ea typeface="Meiryo UI"/>
              </a:rPr>
              <a:t>4</a:t>
            </a:r>
            <a:endParaRPr kumimoji="0" lang="en-US" dirty="0">
              <a:solidFill>
                <a:srgbClr val="FFFFFF"/>
              </a:solidFill>
              <a:latin typeface="Trebuchet MS"/>
              <a:ea typeface="Meiryo UI"/>
            </a:endParaRPr>
          </a:p>
        </p:txBody>
      </p:sp>
      <p:sp>
        <p:nvSpPr>
          <p:cNvPr id="404" name="Oval 20"/>
          <p:cNvSpPr>
            <a:spLocks noChangeArrowheads="1"/>
          </p:cNvSpPr>
          <p:nvPr/>
        </p:nvSpPr>
        <p:spPr bwMode="auto">
          <a:xfrm>
            <a:off x="5878742" y="1592693"/>
            <a:ext cx="244042" cy="244042"/>
          </a:xfrm>
          <a:prstGeom prst="ellipse">
            <a:avLst/>
          </a:prstGeom>
          <a:solidFill>
            <a:schemeClr val="tx2"/>
          </a:solidFill>
          <a:ln>
            <a:noFill/>
          </a:ln>
        </p:spPr>
        <p:txBody>
          <a:bodyPr vert="horz" wrap="square" lIns="144000" tIns="0" rIns="144000" bIns="0" numCol="1" anchor="ctr" anchorCtr="0" compatLnSpc="1">
            <a:prstTxWarp prst="textNoShape">
              <a:avLst/>
            </a:prstTxWarp>
          </a:bodyPr>
          <a:lstStyle/>
          <a:p>
            <a:pPr algn="ctr">
              <a:defRPr/>
            </a:pPr>
            <a:r>
              <a:rPr kumimoji="0" lang="en-US" dirty="0" smtClean="0">
                <a:solidFill>
                  <a:srgbClr val="FFFFFF"/>
                </a:solidFill>
                <a:latin typeface="Trebuchet MS"/>
                <a:ea typeface="Meiryo UI"/>
              </a:rPr>
              <a:t>3</a:t>
            </a:r>
            <a:endParaRPr kumimoji="0" lang="en-US" dirty="0">
              <a:solidFill>
                <a:srgbClr val="FFFFFF"/>
              </a:solidFill>
              <a:latin typeface="Trebuchet MS"/>
              <a:ea typeface="Meiryo UI"/>
            </a:endParaRPr>
          </a:p>
        </p:txBody>
      </p:sp>
      <p:sp>
        <p:nvSpPr>
          <p:cNvPr id="405" name="Oval 20"/>
          <p:cNvSpPr>
            <a:spLocks noChangeArrowheads="1"/>
          </p:cNvSpPr>
          <p:nvPr/>
        </p:nvSpPr>
        <p:spPr bwMode="auto">
          <a:xfrm>
            <a:off x="3817815" y="1592693"/>
            <a:ext cx="244042" cy="244042"/>
          </a:xfrm>
          <a:prstGeom prst="ellipse">
            <a:avLst/>
          </a:prstGeom>
          <a:solidFill>
            <a:schemeClr val="tx2"/>
          </a:solidFill>
          <a:ln>
            <a:noFill/>
          </a:ln>
        </p:spPr>
        <p:txBody>
          <a:bodyPr vert="horz" wrap="square" lIns="144000" tIns="0" rIns="144000" bIns="0" numCol="1" anchor="ctr" anchorCtr="0" compatLnSpc="1">
            <a:prstTxWarp prst="textNoShape">
              <a:avLst/>
            </a:prstTxWarp>
          </a:bodyPr>
          <a:lstStyle/>
          <a:p>
            <a:pPr algn="ctr">
              <a:defRPr/>
            </a:pPr>
            <a:r>
              <a:rPr kumimoji="0" lang="en-US" dirty="0" smtClean="0">
                <a:solidFill>
                  <a:srgbClr val="FFFFFF"/>
                </a:solidFill>
                <a:latin typeface="Trebuchet MS"/>
                <a:ea typeface="Meiryo UI"/>
              </a:rPr>
              <a:t>2</a:t>
            </a:r>
            <a:endParaRPr kumimoji="0" lang="en-US" dirty="0">
              <a:solidFill>
                <a:srgbClr val="FFFFFF"/>
              </a:solidFill>
              <a:latin typeface="Trebuchet MS"/>
              <a:ea typeface="Meiryo UI"/>
            </a:endParaRPr>
          </a:p>
        </p:txBody>
      </p:sp>
      <p:sp>
        <p:nvSpPr>
          <p:cNvPr id="406" name="Oval 20"/>
          <p:cNvSpPr>
            <a:spLocks noChangeArrowheads="1"/>
          </p:cNvSpPr>
          <p:nvPr/>
        </p:nvSpPr>
        <p:spPr bwMode="auto">
          <a:xfrm>
            <a:off x="883627" y="1592693"/>
            <a:ext cx="244042" cy="244042"/>
          </a:xfrm>
          <a:prstGeom prst="ellipse">
            <a:avLst/>
          </a:prstGeom>
          <a:solidFill>
            <a:schemeClr val="tx2"/>
          </a:solidFill>
          <a:ln>
            <a:noFill/>
          </a:ln>
        </p:spPr>
        <p:txBody>
          <a:bodyPr vert="horz" wrap="square" lIns="144000" tIns="0" rIns="144000" bIns="0" numCol="1" anchor="ctr" anchorCtr="0" compatLnSpc="1">
            <a:prstTxWarp prst="textNoShape">
              <a:avLst/>
            </a:prstTxWarp>
          </a:bodyPr>
          <a:lstStyle/>
          <a:p>
            <a:pPr algn="ctr">
              <a:defRPr/>
            </a:pPr>
            <a:r>
              <a:rPr kumimoji="0" lang="en-US" dirty="0" smtClean="0">
                <a:solidFill>
                  <a:srgbClr val="FFFFFF"/>
                </a:solidFill>
                <a:latin typeface="Trebuchet MS"/>
                <a:ea typeface="Meiryo UI"/>
              </a:rPr>
              <a:t>1</a:t>
            </a:r>
            <a:endParaRPr kumimoji="0" lang="en-US" dirty="0">
              <a:solidFill>
                <a:srgbClr val="FFFFFF"/>
              </a:solidFill>
              <a:latin typeface="Trebuchet MS"/>
              <a:ea typeface="Meiryo UI"/>
            </a:endParaRPr>
          </a:p>
        </p:txBody>
      </p:sp>
      <p:grpSp>
        <p:nvGrpSpPr>
          <p:cNvPr id="31" name="Group 30"/>
          <p:cNvGrpSpPr/>
          <p:nvPr/>
        </p:nvGrpSpPr>
        <p:grpSpPr>
          <a:xfrm>
            <a:off x="3693327" y="2280831"/>
            <a:ext cx="1167224" cy="1016994"/>
            <a:chOff x="2648403" y="2701601"/>
            <a:chExt cx="896352" cy="780985"/>
          </a:xfrm>
          <a:effectLst>
            <a:glow rad="63500">
              <a:schemeClr val="bg1"/>
            </a:glow>
          </a:effectLst>
        </p:grpSpPr>
        <p:pic>
          <p:nvPicPr>
            <p:cNvPr id="291" name="Picture 290"/>
            <p:cNvPicPr>
              <a:picLocks noChangeAspect="1"/>
            </p:cNvPicPr>
            <p:nvPr/>
          </p:nvPicPr>
          <p:blipFill>
            <a:blip r:embed="rId46"/>
            <a:srcRect l="7805" r="7805"/>
            <a:stretch>
              <a:fillRect/>
            </a:stretch>
          </p:blipFill>
          <p:spPr>
            <a:xfrm>
              <a:off x="2686125" y="2701601"/>
              <a:ext cx="669410" cy="669409"/>
            </a:xfrm>
            <a:custGeom>
              <a:avLst/>
              <a:gdLst>
                <a:gd name="connsiteX0" fmla="*/ 334705 w 669410"/>
                <a:gd name="connsiteY0" fmla="*/ 0 h 669409"/>
                <a:gd name="connsiteX1" fmla="*/ 669410 w 669410"/>
                <a:gd name="connsiteY1" fmla="*/ 334705 h 669409"/>
                <a:gd name="connsiteX2" fmla="*/ 402160 w 669410"/>
                <a:gd name="connsiteY2" fmla="*/ 662610 h 669409"/>
                <a:gd name="connsiteX3" fmla="*/ 334715 w 669410"/>
                <a:gd name="connsiteY3" fmla="*/ 669409 h 669409"/>
                <a:gd name="connsiteX4" fmla="*/ 334695 w 669410"/>
                <a:gd name="connsiteY4" fmla="*/ 669409 h 669409"/>
                <a:gd name="connsiteX5" fmla="*/ 267251 w 669410"/>
                <a:gd name="connsiteY5" fmla="*/ 662610 h 669409"/>
                <a:gd name="connsiteX6" fmla="*/ 0 w 669410"/>
                <a:gd name="connsiteY6" fmla="*/ 334705 h 669409"/>
                <a:gd name="connsiteX7" fmla="*/ 334705 w 669410"/>
                <a:gd name="connsiteY7" fmla="*/ 0 h 669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9410" h="669409">
                  <a:moveTo>
                    <a:pt x="334705" y="0"/>
                  </a:moveTo>
                  <a:cubicBezTo>
                    <a:pt x="519557" y="0"/>
                    <a:pt x="669410" y="149853"/>
                    <a:pt x="669410" y="334705"/>
                  </a:cubicBezTo>
                  <a:cubicBezTo>
                    <a:pt x="669410" y="496451"/>
                    <a:pt x="554679" y="631400"/>
                    <a:pt x="402160" y="662610"/>
                  </a:cubicBezTo>
                  <a:lnTo>
                    <a:pt x="334715" y="669409"/>
                  </a:lnTo>
                  <a:lnTo>
                    <a:pt x="334695" y="669409"/>
                  </a:lnTo>
                  <a:lnTo>
                    <a:pt x="267251" y="662610"/>
                  </a:lnTo>
                  <a:cubicBezTo>
                    <a:pt x="114731" y="631400"/>
                    <a:pt x="0" y="496451"/>
                    <a:pt x="0" y="334705"/>
                  </a:cubicBezTo>
                  <a:cubicBezTo>
                    <a:pt x="0" y="149853"/>
                    <a:pt x="149853" y="0"/>
                    <a:pt x="334705" y="0"/>
                  </a:cubicBezTo>
                  <a:close/>
                </a:path>
              </a:pathLst>
            </a:custGeom>
          </p:spPr>
        </p:pic>
        <p:sp>
          <p:nvSpPr>
            <p:cNvPr id="37" name="Oval 36"/>
            <p:cNvSpPr/>
            <p:nvPr/>
          </p:nvSpPr>
          <p:spPr>
            <a:xfrm>
              <a:off x="2648403" y="2701601"/>
              <a:ext cx="669409" cy="669409"/>
            </a:xfrm>
            <a:prstGeom prst="ellipse">
              <a:avLst/>
            </a:prstGeom>
            <a:noFill/>
            <a:ln w="76200">
              <a:solidFill>
                <a:srgbClr val="00B050"/>
              </a:solidFill>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defRPr/>
              </a:pPr>
              <a:endParaRPr lang="en-US" sz="1400" dirty="0">
                <a:solidFill>
                  <a:srgbClr val="000000"/>
                </a:solidFill>
                <a:latin typeface="Trebuchet MS"/>
                <a:ea typeface="Meiryo UI"/>
                <a:cs typeface="Arial" pitchFamily="34" charset="0"/>
              </a:endParaRPr>
            </a:p>
          </p:txBody>
        </p:sp>
        <p:sp>
          <p:nvSpPr>
            <p:cNvPr id="178" name="Isosceles Triangle 177"/>
            <p:cNvSpPr/>
            <p:nvPr/>
          </p:nvSpPr>
          <p:spPr>
            <a:xfrm rot="7678488">
              <a:off x="3283136" y="3220967"/>
              <a:ext cx="135888" cy="387350"/>
            </a:xfrm>
            <a:prstGeom prst="triangle">
              <a:avLst>
                <a:gd name="adj" fmla="val 97314"/>
              </a:avLst>
            </a:prstGeom>
            <a:solidFill>
              <a:srgbClr val="00B05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defRPr/>
              </a:pPr>
              <a:endParaRPr lang="en-US" sz="1400" dirty="0">
                <a:solidFill>
                  <a:srgbClr val="000000"/>
                </a:solidFill>
                <a:latin typeface="Trebuchet MS"/>
                <a:ea typeface="Meiryo UI"/>
                <a:cs typeface="Arial" pitchFamily="34" charset="0"/>
              </a:endParaRPr>
            </a:p>
          </p:txBody>
        </p:sp>
      </p:grpSp>
      <p:grpSp>
        <p:nvGrpSpPr>
          <p:cNvPr id="34" name="Group 33"/>
          <p:cNvGrpSpPr/>
          <p:nvPr/>
        </p:nvGrpSpPr>
        <p:grpSpPr>
          <a:xfrm>
            <a:off x="7449917" y="2480823"/>
            <a:ext cx="871700" cy="1188971"/>
            <a:chOff x="6243796" y="2974500"/>
            <a:chExt cx="669409" cy="913052"/>
          </a:xfrm>
          <a:effectLst>
            <a:glow rad="63500">
              <a:schemeClr val="bg1"/>
            </a:glow>
          </a:effectLst>
        </p:grpSpPr>
        <p:sp>
          <p:nvSpPr>
            <p:cNvPr id="268" name="Isosceles Triangle 267"/>
            <p:cNvSpPr/>
            <p:nvPr/>
          </p:nvSpPr>
          <p:spPr>
            <a:xfrm rot="12541295">
              <a:off x="6300340" y="3580807"/>
              <a:ext cx="196068" cy="306745"/>
            </a:xfrm>
            <a:prstGeom prst="triangle">
              <a:avLst>
                <a:gd name="adj" fmla="val 97314"/>
              </a:avLst>
            </a:prstGeom>
            <a:solidFill>
              <a:srgbClr val="00B05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defRPr/>
              </a:pPr>
              <a:endParaRPr lang="en-US" sz="1400" dirty="0">
                <a:solidFill>
                  <a:srgbClr val="000000"/>
                </a:solidFill>
                <a:latin typeface="Trebuchet MS"/>
                <a:ea typeface="Meiryo UI"/>
                <a:cs typeface="Arial" pitchFamily="34" charset="0"/>
              </a:endParaRPr>
            </a:p>
          </p:txBody>
        </p:sp>
        <p:grpSp>
          <p:nvGrpSpPr>
            <p:cNvPr id="16" name="Group 15"/>
            <p:cNvGrpSpPr/>
            <p:nvPr/>
          </p:nvGrpSpPr>
          <p:grpSpPr>
            <a:xfrm>
              <a:off x="6243796" y="2974500"/>
              <a:ext cx="669409" cy="669409"/>
              <a:chOff x="6243796" y="2974500"/>
              <a:chExt cx="669409" cy="669409"/>
            </a:xfrm>
          </p:grpSpPr>
          <p:pic>
            <p:nvPicPr>
              <p:cNvPr id="165" name="Picture 164"/>
              <p:cNvPicPr>
                <a:picLocks noChangeAspect="1"/>
              </p:cNvPicPr>
              <p:nvPr/>
            </p:nvPicPr>
            <p:blipFill rotWithShape="1">
              <a:blip r:embed="rId47" cstate="print">
                <a:extLst>
                  <a:ext uri="{28A0092B-C50C-407E-A947-70E740481C1C}">
                    <a14:useLocalDpi xmlns:a14="http://schemas.microsoft.com/office/drawing/2010/main" val="0"/>
                  </a:ext>
                </a:extLst>
              </a:blip>
              <a:srcRect/>
              <a:stretch/>
            </p:blipFill>
            <p:spPr>
              <a:xfrm>
                <a:off x="6277801" y="3008505"/>
                <a:ext cx="601399" cy="601399"/>
              </a:xfrm>
              <a:prstGeom prst="ellipse">
                <a:avLst/>
              </a:prstGeom>
              <a:grpFill/>
              <a:ln w="19050">
                <a:solidFill>
                  <a:srgbClr val="00B0F0"/>
                </a:solidFill>
              </a:ln>
            </p:spPr>
          </p:pic>
          <p:sp>
            <p:nvSpPr>
              <p:cNvPr id="38" name="Oval 37"/>
              <p:cNvSpPr/>
              <p:nvPr/>
            </p:nvSpPr>
            <p:spPr>
              <a:xfrm>
                <a:off x="6243796" y="2974500"/>
                <a:ext cx="669409" cy="669409"/>
              </a:xfrm>
              <a:prstGeom prst="ellipse">
                <a:avLst/>
              </a:prstGeom>
              <a:noFill/>
              <a:ln w="76200">
                <a:solidFill>
                  <a:srgbClr val="00B050"/>
                </a:solidFill>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defRPr/>
                </a:pPr>
                <a:endParaRPr lang="en-US" sz="1400" dirty="0">
                  <a:solidFill>
                    <a:srgbClr val="000000"/>
                  </a:solidFill>
                  <a:latin typeface="Trebuchet MS"/>
                  <a:ea typeface="Meiryo UI"/>
                  <a:cs typeface="Arial" pitchFamily="34" charset="0"/>
                </a:endParaRPr>
              </a:p>
            </p:txBody>
          </p:sp>
        </p:grpSp>
      </p:grpSp>
      <p:grpSp>
        <p:nvGrpSpPr>
          <p:cNvPr id="28" name="Group 27"/>
          <p:cNvGrpSpPr/>
          <p:nvPr/>
        </p:nvGrpSpPr>
        <p:grpSpPr>
          <a:xfrm>
            <a:off x="2144277" y="4232227"/>
            <a:ext cx="1357534" cy="871700"/>
            <a:chOff x="1206829" y="4520830"/>
            <a:chExt cx="1042497" cy="669409"/>
          </a:xfrm>
        </p:grpSpPr>
        <p:grpSp>
          <p:nvGrpSpPr>
            <p:cNvPr id="10" name="Group 9"/>
            <p:cNvGrpSpPr/>
            <p:nvPr/>
          </p:nvGrpSpPr>
          <p:grpSpPr>
            <a:xfrm>
              <a:off x="1278688" y="4595252"/>
              <a:ext cx="552229" cy="546748"/>
              <a:chOff x="1278688" y="4595252"/>
              <a:chExt cx="552229" cy="546748"/>
            </a:xfrm>
          </p:grpSpPr>
          <p:grpSp>
            <p:nvGrpSpPr>
              <p:cNvPr id="21" name="Group 20"/>
              <p:cNvGrpSpPr/>
              <p:nvPr/>
            </p:nvGrpSpPr>
            <p:grpSpPr>
              <a:xfrm>
                <a:off x="1278688" y="4773936"/>
                <a:ext cx="552229" cy="368064"/>
                <a:chOff x="1340071" y="4787348"/>
                <a:chExt cx="598795" cy="399101"/>
              </a:xfrm>
            </p:grpSpPr>
            <p:grpSp>
              <p:nvGrpSpPr>
                <p:cNvPr id="248" name="Group 247"/>
                <p:cNvGrpSpPr/>
                <p:nvPr/>
              </p:nvGrpSpPr>
              <p:grpSpPr>
                <a:xfrm>
                  <a:off x="1340071" y="4787348"/>
                  <a:ext cx="598795" cy="351734"/>
                  <a:chOff x="1623983" y="5299915"/>
                  <a:chExt cx="1288901" cy="757104"/>
                </a:xfrm>
              </p:grpSpPr>
              <p:pic>
                <p:nvPicPr>
                  <p:cNvPr id="253" name="Picture 144"/>
                  <p:cNvPicPr>
                    <a:picLocks noChangeAspect="1"/>
                  </p:cNvPicPr>
                  <p:nvPr/>
                </p:nvPicPr>
                <p:blipFill>
                  <a:blip r:embed="rId42"/>
                  <a:srcRect l="1126" t="938" r="2621" b="5161"/>
                  <a:stretch>
                    <a:fillRect/>
                  </a:stretch>
                </p:blipFill>
                <p:spPr>
                  <a:xfrm>
                    <a:off x="1623983" y="5299915"/>
                    <a:ext cx="1288901" cy="757104"/>
                  </a:xfrm>
                  <a:custGeom>
                    <a:avLst/>
                    <a:gdLst>
                      <a:gd name="connsiteX0" fmla="*/ 3301762 w 5969000"/>
                      <a:gd name="connsiteY0" fmla="*/ 49 h 3506211"/>
                      <a:gd name="connsiteX1" fmla="*/ 3317240 w 5969000"/>
                      <a:gd name="connsiteY1" fmla="*/ 1011 h 3506211"/>
                      <a:gd name="connsiteX2" fmla="*/ 3637279 w 5969000"/>
                      <a:gd name="connsiteY2" fmla="*/ 46732 h 3506211"/>
                      <a:gd name="connsiteX3" fmla="*/ 4653279 w 5969000"/>
                      <a:gd name="connsiteY3" fmla="*/ 97531 h 3506211"/>
                      <a:gd name="connsiteX4" fmla="*/ 5608320 w 5969000"/>
                      <a:gd name="connsiteY4" fmla="*/ 351531 h 3506211"/>
                      <a:gd name="connsiteX5" fmla="*/ 5715000 w 5969000"/>
                      <a:gd name="connsiteY5" fmla="*/ 1931411 h 3506211"/>
                      <a:gd name="connsiteX6" fmla="*/ 5872480 w 5969000"/>
                      <a:gd name="connsiteY6" fmla="*/ 2058411 h 3506211"/>
                      <a:gd name="connsiteX7" fmla="*/ 5969000 w 5969000"/>
                      <a:gd name="connsiteY7" fmla="*/ 2789931 h 3506211"/>
                      <a:gd name="connsiteX8" fmla="*/ 5826760 w 5969000"/>
                      <a:gd name="connsiteY8" fmla="*/ 3267451 h 3506211"/>
                      <a:gd name="connsiteX9" fmla="*/ 5420359 w 5969000"/>
                      <a:gd name="connsiteY9" fmla="*/ 3282691 h 3506211"/>
                      <a:gd name="connsiteX10" fmla="*/ 4378959 w 5969000"/>
                      <a:gd name="connsiteY10" fmla="*/ 3353812 h 3506211"/>
                      <a:gd name="connsiteX11" fmla="*/ 3865880 w 5969000"/>
                      <a:gd name="connsiteY11" fmla="*/ 3506211 h 3506211"/>
                      <a:gd name="connsiteX12" fmla="*/ 3510280 w 5969000"/>
                      <a:gd name="connsiteY12" fmla="*/ 3404611 h 3506211"/>
                      <a:gd name="connsiteX13" fmla="*/ 2458720 w 5969000"/>
                      <a:gd name="connsiteY13" fmla="*/ 3155691 h 3506211"/>
                      <a:gd name="connsiteX14" fmla="*/ 2016759 w 5969000"/>
                      <a:gd name="connsiteY14" fmla="*/ 2896611 h 3506211"/>
                      <a:gd name="connsiteX15" fmla="*/ 1031240 w 5969000"/>
                      <a:gd name="connsiteY15" fmla="*/ 2708651 h 3506211"/>
                      <a:gd name="connsiteX16" fmla="*/ 624840 w 5969000"/>
                      <a:gd name="connsiteY16" fmla="*/ 2845811 h 3506211"/>
                      <a:gd name="connsiteX17" fmla="*/ 91440 w 5969000"/>
                      <a:gd name="connsiteY17" fmla="*/ 2683251 h 3506211"/>
                      <a:gd name="connsiteX18" fmla="*/ 20320 w 5969000"/>
                      <a:gd name="connsiteY18" fmla="*/ 2434331 h 3506211"/>
                      <a:gd name="connsiteX19" fmla="*/ 0 w 5969000"/>
                      <a:gd name="connsiteY19" fmla="*/ 2119371 h 3506211"/>
                      <a:gd name="connsiteX20" fmla="*/ 223520 w 5969000"/>
                      <a:gd name="connsiteY20" fmla="*/ 1519931 h 3506211"/>
                      <a:gd name="connsiteX21" fmla="*/ 391160 w 5969000"/>
                      <a:gd name="connsiteY21" fmla="*/ 493771 h 3506211"/>
                      <a:gd name="connsiteX22" fmla="*/ 802640 w 5969000"/>
                      <a:gd name="connsiteY22" fmla="*/ 173731 h 3506211"/>
                      <a:gd name="connsiteX23" fmla="*/ 3180079 w 5969000"/>
                      <a:gd name="connsiteY23" fmla="*/ 41651 h 3506211"/>
                      <a:gd name="connsiteX24" fmla="*/ 3301762 w 5969000"/>
                      <a:gd name="connsiteY24" fmla="*/ 49 h 3506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969000" h="3506211">
                        <a:moveTo>
                          <a:pt x="3301762" y="49"/>
                        </a:moveTo>
                        <a:cubicBezTo>
                          <a:pt x="3302741" y="-126"/>
                          <a:pt x="3307292" y="165"/>
                          <a:pt x="3317240" y="1011"/>
                        </a:cubicBezTo>
                        <a:cubicBezTo>
                          <a:pt x="3490807" y="8631"/>
                          <a:pt x="3522979" y="19639"/>
                          <a:pt x="3637279" y="46732"/>
                        </a:cubicBezTo>
                        <a:cubicBezTo>
                          <a:pt x="3868419" y="63665"/>
                          <a:pt x="4324772" y="46731"/>
                          <a:pt x="4653279" y="97531"/>
                        </a:cubicBezTo>
                        <a:cubicBezTo>
                          <a:pt x="4981786" y="148331"/>
                          <a:pt x="5449993" y="158491"/>
                          <a:pt x="5608320" y="351531"/>
                        </a:cubicBezTo>
                        <a:cubicBezTo>
                          <a:pt x="5659120" y="476838"/>
                          <a:pt x="5679440" y="1404784"/>
                          <a:pt x="5715000" y="1931411"/>
                        </a:cubicBezTo>
                        <a:lnTo>
                          <a:pt x="5872480" y="2058411"/>
                        </a:lnTo>
                        <a:cubicBezTo>
                          <a:pt x="5894493" y="2312411"/>
                          <a:pt x="5936827" y="2546091"/>
                          <a:pt x="5969000" y="2789931"/>
                        </a:cubicBezTo>
                        <a:cubicBezTo>
                          <a:pt x="5955453" y="2906771"/>
                          <a:pt x="5901267" y="3135371"/>
                          <a:pt x="5826760" y="3267451"/>
                        </a:cubicBezTo>
                        <a:cubicBezTo>
                          <a:pt x="5737013" y="3357198"/>
                          <a:pt x="5615939" y="3319098"/>
                          <a:pt x="5420359" y="3282691"/>
                        </a:cubicBezTo>
                        <a:cubicBezTo>
                          <a:pt x="5179059" y="3297085"/>
                          <a:pt x="4639732" y="3324179"/>
                          <a:pt x="4378959" y="3353812"/>
                        </a:cubicBezTo>
                        <a:cubicBezTo>
                          <a:pt x="4070772" y="3392759"/>
                          <a:pt x="4053840" y="3501978"/>
                          <a:pt x="3865880" y="3506211"/>
                        </a:cubicBezTo>
                        <a:lnTo>
                          <a:pt x="3510280" y="3404611"/>
                        </a:lnTo>
                        <a:lnTo>
                          <a:pt x="2458720" y="3155691"/>
                        </a:lnTo>
                        <a:cubicBezTo>
                          <a:pt x="2181013" y="3081184"/>
                          <a:pt x="2281766" y="2988898"/>
                          <a:pt x="2016759" y="2896611"/>
                        </a:cubicBezTo>
                        <a:cubicBezTo>
                          <a:pt x="1751752" y="2804324"/>
                          <a:pt x="1286086" y="2728971"/>
                          <a:pt x="1031240" y="2708651"/>
                        </a:cubicBezTo>
                        <a:cubicBezTo>
                          <a:pt x="792480" y="2708651"/>
                          <a:pt x="802640" y="2840731"/>
                          <a:pt x="624840" y="2845811"/>
                        </a:cubicBezTo>
                        <a:lnTo>
                          <a:pt x="91440" y="2683251"/>
                        </a:lnTo>
                        <a:lnTo>
                          <a:pt x="20320" y="2434331"/>
                        </a:lnTo>
                        <a:lnTo>
                          <a:pt x="0" y="2119371"/>
                        </a:lnTo>
                        <a:cubicBezTo>
                          <a:pt x="8467" y="1889078"/>
                          <a:pt x="93133" y="1658784"/>
                          <a:pt x="223520" y="1519931"/>
                        </a:cubicBezTo>
                        <a:cubicBezTo>
                          <a:pt x="267547" y="1171104"/>
                          <a:pt x="311573" y="725758"/>
                          <a:pt x="391160" y="493771"/>
                        </a:cubicBezTo>
                        <a:cubicBezTo>
                          <a:pt x="441960" y="376931"/>
                          <a:pt x="655320" y="234691"/>
                          <a:pt x="802640" y="173731"/>
                        </a:cubicBezTo>
                        <a:lnTo>
                          <a:pt x="3180079" y="41651"/>
                        </a:lnTo>
                        <a:cubicBezTo>
                          <a:pt x="3463078" y="25353"/>
                          <a:pt x="3294909" y="1276"/>
                          <a:pt x="3301762" y="49"/>
                        </a:cubicBezTo>
                        <a:close/>
                      </a:path>
                    </a:pathLst>
                  </a:custGeom>
                </p:spPr>
              </p:pic>
              <p:sp>
                <p:nvSpPr>
                  <p:cNvPr id="254" name="Rectangle 253"/>
                  <p:cNvSpPr/>
                  <p:nvPr/>
                </p:nvSpPr>
                <p:spPr>
                  <a:xfrm>
                    <a:off x="1623983" y="5299915"/>
                    <a:ext cx="1288901" cy="757104"/>
                  </a:xfrm>
                  <a:prstGeom prst="rect">
                    <a:avLst/>
                  </a:prstGeom>
                  <a:solidFill>
                    <a:srgbClr val="FFFFFF">
                      <a:alpha val="54902"/>
                    </a:srgbClr>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defRPr/>
                    </a:pPr>
                    <a:endParaRPr lang="en-US" sz="1400" dirty="0">
                      <a:solidFill>
                        <a:srgbClr val="000000"/>
                      </a:solidFill>
                      <a:latin typeface="Trebuchet MS"/>
                      <a:ea typeface="Meiryo UI"/>
                      <a:cs typeface="Arial" pitchFamily="34" charset="0"/>
                    </a:endParaRPr>
                  </a:p>
                </p:txBody>
              </p:sp>
            </p:grpSp>
            <p:pic>
              <p:nvPicPr>
                <p:cNvPr id="250" name="Picture 249"/>
                <p:cNvPicPr>
                  <a:picLocks noChangeAspect="1"/>
                </p:cNvPicPr>
                <p:nvPr/>
              </p:nvPicPr>
              <p:blipFill>
                <a:blip r:embed="rId48" cstate="print">
                  <a:extLst>
                    <a:ext uri="{28A0092B-C50C-407E-A947-70E740481C1C}">
                      <a14:useLocalDpi xmlns:a14="http://schemas.microsoft.com/office/drawing/2010/main" val="0"/>
                    </a:ext>
                  </a:extLst>
                </a:blip>
                <a:stretch>
                  <a:fillRect/>
                </a:stretch>
              </p:blipFill>
              <p:spPr>
                <a:xfrm>
                  <a:off x="1692651" y="4852908"/>
                  <a:ext cx="54829" cy="76375"/>
                </a:xfrm>
                <a:prstGeom prst="rect">
                  <a:avLst/>
                </a:prstGeom>
              </p:spPr>
            </p:pic>
            <p:sp>
              <p:nvSpPr>
                <p:cNvPr id="251" name="Freeform 250"/>
                <p:cNvSpPr/>
                <p:nvPr/>
              </p:nvSpPr>
              <p:spPr>
                <a:xfrm>
                  <a:off x="1573763" y="4874431"/>
                  <a:ext cx="141316" cy="74135"/>
                </a:xfrm>
                <a:custGeom>
                  <a:avLst/>
                  <a:gdLst>
                    <a:gd name="connsiteX0" fmla="*/ 230716 w 279400"/>
                    <a:gd name="connsiteY0" fmla="*/ 0 h 182033"/>
                    <a:gd name="connsiteX1" fmla="*/ 0 w 279400"/>
                    <a:gd name="connsiteY1" fmla="*/ 57150 h 182033"/>
                    <a:gd name="connsiteX2" fmla="*/ 12700 w 279400"/>
                    <a:gd name="connsiteY2" fmla="*/ 182033 h 182033"/>
                    <a:gd name="connsiteX3" fmla="*/ 279400 w 279400"/>
                    <a:gd name="connsiteY3" fmla="*/ 59267 h 182033"/>
                    <a:gd name="connsiteX4" fmla="*/ 230716 w 279400"/>
                    <a:gd name="connsiteY4" fmla="*/ 0 h 182033"/>
                    <a:gd name="connsiteX0" fmla="*/ 230716 w 279400"/>
                    <a:gd name="connsiteY0" fmla="*/ 0 h 182033"/>
                    <a:gd name="connsiteX1" fmla="*/ 0 w 279400"/>
                    <a:gd name="connsiteY1" fmla="*/ 57150 h 182033"/>
                    <a:gd name="connsiteX2" fmla="*/ 12700 w 279400"/>
                    <a:gd name="connsiteY2" fmla="*/ 182033 h 182033"/>
                    <a:gd name="connsiteX3" fmla="*/ 279400 w 279400"/>
                    <a:gd name="connsiteY3" fmla="*/ 59267 h 182033"/>
                    <a:gd name="connsiteX4" fmla="*/ 230716 w 279400"/>
                    <a:gd name="connsiteY4" fmla="*/ 0 h 182033"/>
                    <a:gd name="connsiteX0" fmla="*/ 230716 w 279400"/>
                    <a:gd name="connsiteY0" fmla="*/ 0 h 182033"/>
                    <a:gd name="connsiteX1" fmla="*/ 0 w 279400"/>
                    <a:gd name="connsiteY1" fmla="*/ 57150 h 182033"/>
                    <a:gd name="connsiteX2" fmla="*/ 12700 w 279400"/>
                    <a:gd name="connsiteY2" fmla="*/ 182033 h 182033"/>
                    <a:gd name="connsiteX3" fmla="*/ 279400 w 279400"/>
                    <a:gd name="connsiteY3" fmla="*/ 59267 h 182033"/>
                    <a:gd name="connsiteX4" fmla="*/ 230716 w 279400"/>
                    <a:gd name="connsiteY4" fmla="*/ 0 h 182033"/>
                    <a:gd name="connsiteX0" fmla="*/ 230716 w 279400"/>
                    <a:gd name="connsiteY0" fmla="*/ 0 h 182033"/>
                    <a:gd name="connsiteX1" fmla="*/ 0 w 279400"/>
                    <a:gd name="connsiteY1" fmla="*/ 57150 h 182033"/>
                    <a:gd name="connsiteX2" fmla="*/ 12700 w 279400"/>
                    <a:gd name="connsiteY2" fmla="*/ 182033 h 182033"/>
                    <a:gd name="connsiteX3" fmla="*/ 279400 w 279400"/>
                    <a:gd name="connsiteY3" fmla="*/ 59267 h 182033"/>
                    <a:gd name="connsiteX4" fmla="*/ 230716 w 279400"/>
                    <a:gd name="connsiteY4" fmla="*/ 0 h 182033"/>
                    <a:gd name="connsiteX0" fmla="*/ 230716 w 279400"/>
                    <a:gd name="connsiteY0" fmla="*/ 0 h 154517"/>
                    <a:gd name="connsiteX1" fmla="*/ 0 w 279400"/>
                    <a:gd name="connsiteY1" fmla="*/ 57150 h 154517"/>
                    <a:gd name="connsiteX2" fmla="*/ 0 w 279400"/>
                    <a:gd name="connsiteY2" fmla="*/ 154517 h 154517"/>
                    <a:gd name="connsiteX3" fmla="*/ 279400 w 279400"/>
                    <a:gd name="connsiteY3" fmla="*/ 59267 h 154517"/>
                    <a:gd name="connsiteX4" fmla="*/ 230716 w 279400"/>
                    <a:gd name="connsiteY4" fmla="*/ 0 h 154517"/>
                    <a:gd name="connsiteX0" fmla="*/ 230716 w 279400"/>
                    <a:gd name="connsiteY0" fmla="*/ 0 h 141817"/>
                    <a:gd name="connsiteX1" fmla="*/ 0 w 279400"/>
                    <a:gd name="connsiteY1" fmla="*/ 44450 h 141817"/>
                    <a:gd name="connsiteX2" fmla="*/ 0 w 279400"/>
                    <a:gd name="connsiteY2" fmla="*/ 141817 h 141817"/>
                    <a:gd name="connsiteX3" fmla="*/ 279400 w 279400"/>
                    <a:gd name="connsiteY3" fmla="*/ 46567 h 141817"/>
                    <a:gd name="connsiteX4" fmla="*/ 230716 w 279400"/>
                    <a:gd name="connsiteY4" fmla="*/ 0 h 141817"/>
                    <a:gd name="connsiteX0" fmla="*/ 230716 w 264583"/>
                    <a:gd name="connsiteY0" fmla="*/ 0 h 141817"/>
                    <a:gd name="connsiteX1" fmla="*/ 0 w 264583"/>
                    <a:gd name="connsiteY1" fmla="*/ 44450 h 141817"/>
                    <a:gd name="connsiteX2" fmla="*/ 0 w 264583"/>
                    <a:gd name="connsiteY2" fmla="*/ 141817 h 141817"/>
                    <a:gd name="connsiteX3" fmla="*/ 264583 w 264583"/>
                    <a:gd name="connsiteY3" fmla="*/ 40217 h 141817"/>
                    <a:gd name="connsiteX4" fmla="*/ 230716 w 264583"/>
                    <a:gd name="connsiteY4" fmla="*/ 0 h 141817"/>
                    <a:gd name="connsiteX0" fmla="*/ 230716 w 264583"/>
                    <a:gd name="connsiteY0" fmla="*/ 0 h 141817"/>
                    <a:gd name="connsiteX1" fmla="*/ 0 w 264583"/>
                    <a:gd name="connsiteY1" fmla="*/ 44450 h 141817"/>
                    <a:gd name="connsiteX2" fmla="*/ 0 w 264583"/>
                    <a:gd name="connsiteY2" fmla="*/ 141817 h 141817"/>
                    <a:gd name="connsiteX3" fmla="*/ 264583 w 264583"/>
                    <a:gd name="connsiteY3" fmla="*/ 40217 h 141817"/>
                    <a:gd name="connsiteX4" fmla="*/ 230716 w 264583"/>
                    <a:gd name="connsiteY4" fmla="*/ 0 h 141817"/>
                    <a:gd name="connsiteX0" fmla="*/ 230716 w 264583"/>
                    <a:gd name="connsiteY0" fmla="*/ 0 h 141817"/>
                    <a:gd name="connsiteX1" fmla="*/ 0 w 264583"/>
                    <a:gd name="connsiteY1" fmla="*/ 44450 h 141817"/>
                    <a:gd name="connsiteX2" fmla="*/ 0 w 264583"/>
                    <a:gd name="connsiteY2" fmla="*/ 141817 h 141817"/>
                    <a:gd name="connsiteX3" fmla="*/ 264583 w 264583"/>
                    <a:gd name="connsiteY3" fmla="*/ 40217 h 141817"/>
                    <a:gd name="connsiteX4" fmla="*/ 230716 w 264583"/>
                    <a:gd name="connsiteY4" fmla="*/ 0 h 141817"/>
                    <a:gd name="connsiteX0" fmla="*/ 230716 w 253400"/>
                    <a:gd name="connsiteY0" fmla="*/ 0 h 141817"/>
                    <a:gd name="connsiteX1" fmla="*/ 0 w 253400"/>
                    <a:gd name="connsiteY1" fmla="*/ 44450 h 141817"/>
                    <a:gd name="connsiteX2" fmla="*/ 0 w 253400"/>
                    <a:gd name="connsiteY2" fmla="*/ 141817 h 141817"/>
                    <a:gd name="connsiteX3" fmla="*/ 251883 w 253400"/>
                    <a:gd name="connsiteY3" fmla="*/ 40217 h 141817"/>
                    <a:gd name="connsiteX4" fmla="*/ 230716 w 253400"/>
                    <a:gd name="connsiteY4" fmla="*/ 0 h 141817"/>
                    <a:gd name="connsiteX0" fmla="*/ 243416 w 266100"/>
                    <a:gd name="connsiteY0" fmla="*/ 0 h 141817"/>
                    <a:gd name="connsiteX1" fmla="*/ 0 w 266100"/>
                    <a:gd name="connsiteY1" fmla="*/ 57150 h 141817"/>
                    <a:gd name="connsiteX2" fmla="*/ 12700 w 266100"/>
                    <a:gd name="connsiteY2" fmla="*/ 141817 h 141817"/>
                    <a:gd name="connsiteX3" fmla="*/ 264583 w 266100"/>
                    <a:gd name="connsiteY3" fmla="*/ 40217 h 141817"/>
                    <a:gd name="connsiteX4" fmla="*/ 243416 w 266100"/>
                    <a:gd name="connsiteY4" fmla="*/ 0 h 141817"/>
                    <a:gd name="connsiteX0" fmla="*/ 243416 w 266100"/>
                    <a:gd name="connsiteY0" fmla="*/ 0 h 133350"/>
                    <a:gd name="connsiteX1" fmla="*/ 0 w 266100"/>
                    <a:gd name="connsiteY1" fmla="*/ 57150 h 133350"/>
                    <a:gd name="connsiteX2" fmla="*/ 0 w 266100"/>
                    <a:gd name="connsiteY2" fmla="*/ 133350 h 133350"/>
                    <a:gd name="connsiteX3" fmla="*/ 264583 w 266100"/>
                    <a:gd name="connsiteY3" fmla="*/ 40217 h 133350"/>
                    <a:gd name="connsiteX4" fmla="*/ 243416 w 266100"/>
                    <a:gd name="connsiteY4" fmla="*/ 0 h 133350"/>
                    <a:gd name="connsiteX0" fmla="*/ 243566 w 266250"/>
                    <a:gd name="connsiteY0" fmla="*/ 0 h 133350"/>
                    <a:gd name="connsiteX1" fmla="*/ 150 w 266250"/>
                    <a:gd name="connsiteY1" fmla="*/ 57150 h 133350"/>
                    <a:gd name="connsiteX2" fmla="*/ 150 w 266250"/>
                    <a:gd name="connsiteY2" fmla="*/ 133350 h 133350"/>
                    <a:gd name="connsiteX3" fmla="*/ 264733 w 266250"/>
                    <a:gd name="connsiteY3" fmla="*/ 40217 h 133350"/>
                    <a:gd name="connsiteX4" fmla="*/ 243566 w 266250"/>
                    <a:gd name="connsiteY4" fmla="*/ 0 h 133350"/>
                    <a:gd name="connsiteX0" fmla="*/ 258854 w 281538"/>
                    <a:gd name="connsiteY0" fmla="*/ 0 h 133350"/>
                    <a:gd name="connsiteX1" fmla="*/ 0 w 281538"/>
                    <a:gd name="connsiteY1" fmla="*/ 59233 h 133350"/>
                    <a:gd name="connsiteX2" fmla="*/ 15438 w 281538"/>
                    <a:gd name="connsiteY2" fmla="*/ 133350 h 133350"/>
                    <a:gd name="connsiteX3" fmla="*/ 280021 w 281538"/>
                    <a:gd name="connsiteY3" fmla="*/ 40217 h 133350"/>
                    <a:gd name="connsiteX4" fmla="*/ 258854 w 281538"/>
                    <a:gd name="connsiteY4" fmla="*/ 0 h 133350"/>
                    <a:gd name="connsiteX0" fmla="*/ 265588 w 288272"/>
                    <a:gd name="connsiteY0" fmla="*/ 0 h 139601"/>
                    <a:gd name="connsiteX1" fmla="*/ 6734 w 288272"/>
                    <a:gd name="connsiteY1" fmla="*/ 59233 h 139601"/>
                    <a:gd name="connsiteX2" fmla="*/ 116 w 288272"/>
                    <a:gd name="connsiteY2" fmla="*/ 139601 h 139601"/>
                    <a:gd name="connsiteX3" fmla="*/ 286755 w 288272"/>
                    <a:gd name="connsiteY3" fmla="*/ 40217 h 139601"/>
                    <a:gd name="connsiteX4" fmla="*/ 265588 w 288272"/>
                    <a:gd name="connsiteY4" fmla="*/ 0 h 139601"/>
                    <a:gd name="connsiteX0" fmla="*/ 276499 w 299183"/>
                    <a:gd name="connsiteY0" fmla="*/ 0 h 139601"/>
                    <a:gd name="connsiteX1" fmla="*/ 0 w 299183"/>
                    <a:gd name="connsiteY1" fmla="*/ 63400 h 139601"/>
                    <a:gd name="connsiteX2" fmla="*/ 11027 w 299183"/>
                    <a:gd name="connsiteY2" fmla="*/ 139601 h 139601"/>
                    <a:gd name="connsiteX3" fmla="*/ 297666 w 299183"/>
                    <a:gd name="connsiteY3" fmla="*/ 40217 h 139601"/>
                    <a:gd name="connsiteX4" fmla="*/ 276499 w 299183"/>
                    <a:gd name="connsiteY4" fmla="*/ 0 h 139601"/>
                    <a:gd name="connsiteX0" fmla="*/ 276499 w 299183"/>
                    <a:gd name="connsiteY0" fmla="*/ 0 h 139601"/>
                    <a:gd name="connsiteX1" fmla="*/ 0 w 299183"/>
                    <a:gd name="connsiteY1" fmla="*/ 63400 h 139601"/>
                    <a:gd name="connsiteX2" fmla="*/ 11027 w 299183"/>
                    <a:gd name="connsiteY2" fmla="*/ 139601 h 139601"/>
                    <a:gd name="connsiteX3" fmla="*/ 297666 w 299183"/>
                    <a:gd name="connsiteY3" fmla="*/ 40217 h 139601"/>
                    <a:gd name="connsiteX4" fmla="*/ 276499 w 299183"/>
                    <a:gd name="connsiteY4" fmla="*/ 0 h 139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183" h="139601">
                      <a:moveTo>
                        <a:pt x="276499" y="0"/>
                      </a:moveTo>
                      <a:lnTo>
                        <a:pt x="0" y="63400"/>
                      </a:lnTo>
                      <a:cubicBezTo>
                        <a:pt x="19050" y="89506"/>
                        <a:pt x="17733" y="117728"/>
                        <a:pt x="11027" y="139601"/>
                      </a:cubicBezTo>
                      <a:lnTo>
                        <a:pt x="297666" y="40217"/>
                      </a:lnTo>
                      <a:cubicBezTo>
                        <a:pt x="296254" y="14111"/>
                        <a:pt x="309660" y="11289"/>
                        <a:pt x="276499" y="0"/>
                      </a:cubicBezTo>
                      <a:close/>
                    </a:path>
                  </a:pathLst>
                </a:custGeom>
                <a:gradFill flip="none" rotWithShape="1">
                  <a:gsLst>
                    <a:gs pos="0">
                      <a:srgbClr val="00B050">
                        <a:alpha val="80000"/>
                      </a:srgbClr>
                    </a:gs>
                    <a:gs pos="100000">
                      <a:srgbClr val="93FFC4">
                        <a:alpha val="60000"/>
                      </a:srgbClr>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defRPr/>
                  </a:pPr>
                  <a:endParaRPr lang="en-US" sz="1400" dirty="0">
                    <a:solidFill>
                      <a:srgbClr val="000000"/>
                    </a:solidFill>
                    <a:latin typeface="Trebuchet MS"/>
                    <a:ea typeface="Meiryo UI"/>
                    <a:cs typeface="Arial" pitchFamily="34" charset="0"/>
                  </a:endParaRPr>
                </a:p>
              </p:txBody>
            </p:sp>
            <p:pic>
              <p:nvPicPr>
                <p:cNvPr id="252" name="Picture 251"/>
                <p:cNvPicPr>
                  <a:picLocks noChangeAspect="1"/>
                </p:cNvPicPr>
                <p:nvPr/>
              </p:nvPicPr>
              <p:blipFill rotWithShape="1">
                <a:blip r:embed="rId49" cstate="print">
                  <a:extLst>
                    <a:ext uri="{28A0092B-C50C-407E-A947-70E740481C1C}">
                      <a14:useLocalDpi xmlns:a14="http://schemas.microsoft.com/office/drawing/2010/main" val="0"/>
                    </a:ext>
                  </a:extLst>
                </a:blip>
                <a:srcRect b="35836"/>
                <a:stretch/>
              </p:blipFill>
              <p:spPr>
                <a:xfrm>
                  <a:off x="1389600" y="4892104"/>
                  <a:ext cx="212152" cy="294345"/>
                </a:xfrm>
                <a:prstGeom prst="rect">
                  <a:avLst/>
                </a:prstGeom>
              </p:spPr>
            </p:pic>
          </p:grpSp>
          <p:pic>
            <p:nvPicPr>
              <p:cNvPr id="249" name="Picture 248"/>
              <p:cNvPicPr>
                <a:picLocks noChangeAspect="1"/>
              </p:cNvPicPr>
              <p:nvPr/>
            </p:nvPicPr>
            <p:blipFill rotWithShape="1">
              <a:blip r:embed="rId50" cstate="print">
                <a:extLst>
                  <a:ext uri="{28A0092B-C50C-407E-A947-70E740481C1C}">
                    <a14:useLocalDpi xmlns:a14="http://schemas.microsoft.com/office/drawing/2010/main" val="0"/>
                  </a:ext>
                </a:extLst>
              </a:blip>
              <a:srcRect l="21956" r="15768" b="80159"/>
              <a:stretch/>
            </p:blipFill>
            <p:spPr>
              <a:xfrm>
                <a:off x="1343031" y="4595252"/>
                <a:ext cx="300560" cy="270794"/>
              </a:xfrm>
              <a:prstGeom prst="rect">
                <a:avLst/>
              </a:prstGeom>
            </p:spPr>
          </p:pic>
        </p:grpSp>
        <p:sp>
          <p:nvSpPr>
            <p:cNvPr id="289" name="Isosceles Triangle 288"/>
            <p:cNvSpPr/>
            <p:nvPr/>
          </p:nvSpPr>
          <p:spPr>
            <a:xfrm rot="5400000" flipH="1">
              <a:off x="1961923" y="4658974"/>
              <a:ext cx="187455" cy="387350"/>
            </a:xfrm>
            <a:prstGeom prst="triangle">
              <a:avLst>
                <a:gd name="adj" fmla="val 97314"/>
              </a:avLst>
            </a:prstGeom>
            <a:solidFill>
              <a:srgbClr val="9665E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defRPr/>
              </a:pPr>
              <a:endParaRPr lang="en-US" sz="1400" dirty="0">
                <a:solidFill>
                  <a:srgbClr val="000000"/>
                </a:solidFill>
                <a:latin typeface="Trebuchet MS"/>
                <a:ea typeface="Meiryo UI"/>
                <a:cs typeface="Arial" pitchFamily="34" charset="0"/>
              </a:endParaRPr>
            </a:p>
          </p:txBody>
        </p:sp>
        <p:sp>
          <p:nvSpPr>
            <p:cNvPr id="290" name="Oval 289"/>
            <p:cNvSpPr/>
            <p:nvPr/>
          </p:nvSpPr>
          <p:spPr>
            <a:xfrm>
              <a:off x="1206829" y="4520830"/>
              <a:ext cx="669409" cy="669409"/>
            </a:xfrm>
            <a:prstGeom prst="ellipse">
              <a:avLst/>
            </a:prstGeom>
            <a:noFill/>
            <a:ln w="76200">
              <a:solidFill>
                <a:srgbClr val="9665ED"/>
              </a:solidFill>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defRPr/>
              </a:pPr>
              <a:endParaRPr lang="en-US" sz="1400" dirty="0">
                <a:solidFill>
                  <a:srgbClr val="000000"/>
                </a:solidFill>
                <a:latin typeface="Trebuchet MS"/>
                <a:ea typeface="Meiryo UI"/>
                <a:cs typeface="Arial" pitchFamily="34" charset="0"/>
              </a:endParaRPr>
            </a:p>
          </p:txBody>
        </p:sp>
      </p:grpSp>
      <p:grpSp>
        <p:nvGrpSpPr>
          <p:cNvPr id="175" name="グループ化 174"/>
          <p:cNvGrpSpPr/>
          <p:nvPr/>
        </p:nvGrpSpPr>
        <p:grpSpPr>
          <a:xfrm>
            <a:off x="2978116" y="5139417"/>
            <a:ext cx="1256932" cy="914490"/>
            <a:chOff x="3231352" y="5263119"/>
            <a:chExt cx="965241" cy="702269"/>
          </a:xfrm>
          <a:effectLst>
            <a:glow rad="50800">
              <a:schemeClr val="bg1"/>
            </a:glow>
          </a:effectLst>
        </p:grpSpPr>
        <p:sp>
          <p:nvSpPr>
            <p:cNvPr id="318" name="Oval 317"/>
            <p:cNvSpPr/>
            <p:nvPr/>
          </p:nvSpPr>
          <p:spPr>
            <a:xfrm>
              <a:off x="3231352" y="5295979"/>
              <a:ext cx="669409" cy="669409"/>
            </a:xfrm>
            <a:prstGeom prst="ellipse">
              <a:avLst/>
            </a:prstGeom>
            <a:noFill/>
            <a:ln w="76200">
              <a:solidFill>
                <a:srgbClr val="9665ED"/>
              </a:solidFill>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defRPr/>
              </a:pPr>
              <a:endParaRPr lang="en-US" sz="1400" dirty="0">
                <a:solidFill>
                  <a:srgbClr val="000000"/>
                </a:solidFill>
                <a:latin typeface="Trebuchet MS"/>
                <a:ea typeface="Meiryo UI"/>
                <a:cs typeface="Arial" pitchFamily="34" charset="0"/>
              </a:endParaRPr>
            </a:p>
          </p:txBody>
        </p:sp>
        <p:sp>
          <p:nvSpPr>
            <p:cNvPr id="319" name="Isosceles Triangle 318"/>
            <p:cNvSpPr/>
            <p:nvPr/>
          </p:nvSpPr>
          <p:spPr>
            <a:xfrm rot="3718946" flipH="1">
              <a:off x="3909190" y="5163172"/>
              <a:ext cx="187455" cy="387350"/>
            </a:xfrm>
            <a:prstGeom prst="triangle">
              <a:avLst>
                <a:gd name="adj" fmla="val 97314"/>
              </a:avLst>
            </a:prstGeom>
            <a:solidFill>
              <a:srgbClr val="9665E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defRPr/>
              </a:pPr>
              <a:endParaRPr lang="en-US" sz="1400" dirty="0">
                <a:solidFill>
                  <a:srgbClr val="000000"/>
                </a:solidFill>
                <a:latin typeface="Trebuchet MS"/>
                <a:ea typeface="Meiryo UI"/>
                <a:cs typeface="Arial" pitchFamily="34" charset="0"/>
              </a:endParaRPr>
            </a:p>
          </p:txBody>
        </p:sp>
        <p:pic>
          <p:nvPicPr>
            <p:cNvPr id="279" name="Picture 144"/>
            <p:cNvPicPr>
              <a:picLocks noChangeAspect="1"/>
            </p:cNvPicPr>
            <p:nvPr/>
          </p:nvPicPr>
          <p:blipFill>
            <a:blip r:embed="rId42"/>
            <a:srcRect l="1126" t="938" r="2621" b="5161"/>
            <a:stretch>
              <a:fillRect/>
            </a:stretch>
          </p:blipFill>
          <p:spPr>
            <a:xfrm>
              <a:off x="3396807" y="5597531"/>
              <a:ext cx="383580" cy="225316"/>
            </a:xfrm>
            <a:custGeom>
              <a:avLst/>
              <a:gdLst>
                <a:gd name="connsiteX0" fmla="*/ 3301762 w 5969000"/>
                <a:gd name="connsiteY0" fmla="*/ 49 h 3506211"/>
                <a:gd name="connsiteX1" fmla="*/ 3317240 w 5969000"/>
                <a:gd name="connsiteY1" fmla="*/ 1011 h 3506211"/>
                <a:gd name="connsiteX2" fmla="*/ 3637279 w 5969000"/>
                <a:gd name="connsiteY2" fmla="*/ 46732 h 3506211"/>
                <a:gd name="connsiteX3" fmla="*/ 4653279 w 5969000"/>
                <a:gd name="connsiteY3" fmla="*/ 97531 h 3506211"/>
                <a:gd name="connsiteX4" fmla="*/ 5608320 w 5969000"/>
                <a:gd name="connsiteY4" fmla="*/ 351531 h 3506211"/>
                <a:gd name="connsiteX5" fmla="*/ 5715000 w 5969000"/>
                <a:gd name="connsiteY5" fmla="*/ 1931411 h 3506211"/>
                <a:gd name="connsiteX6" fmla="*/ 5872480 w 5969000"/>
                <a:gd name="connsiteY6" fmla="*/ 2058411 h 3506211"/>
                <a:gd name="connsiteX7" fmla="*/ 5969000 w 5969000"/>
                <a:gd name="connsiteY7" fmla="*/ 2789931 h 3506211"/>
                <a:gd name="connsiteX8" fmla="*/ 5826760 w 5969000"/>
                <a:gd name="connsiteY8" fmla="*/ 3267451 h 3506211"/>
                <a:gd name="connsiteX9" fmla="*/ 5420359 w 5969000"/>
                <a:gd name="connsiteY9" fmla="*/ 3282691 h 3506211"/>
                <a:gd name="connsiteX10" fmla="*/ 4378959 w 5969000"/>
                <a:gd name="connsiteY10" fmla="*/ 3353812 h 3506211"/>
                <a:gd name="connsiteX11" fmla="*/ 3865880 w 5969000"/>
                <a:gd name="connsiteY11" fmla="*/ 3506211 h 3506211"/>
                <a:gd name="connsiteX12" fmla="*/ 3510280 w 5969000"/>
                <a:gd name="connsiteY12" fmla="*/ 3404611 h 3506211"/>
                <a:gd name="connsiteX13" fmla="*/ 2458720 w 5969000"/>
                <a:gd name="connsiteY13" fmla="*/ 3155691 h 3506211"/>
                <a:gd name="connsiteX14" fmla="*/ 2016759 w 5969000"/>
                <a:gd name="connsiteY14" fmla="*/ 2896611 h 3506211"/>
                <a:gd name="connsiteX15" fmla="*/ 1031240 w 5969000"/>
                <a:gd name="connsiteY15" fmla="*/ 2708651 h 3506211"/>
                <a:gd name="connsiteX16" fmla="*/ 624840 w 5969000"/>
                <a:gd name="connsiteY16" fmla="*/ 2845811 h 3506211"/>
                <a:gd name="connsiteX17" fmla="*/ 91440 w 5969000"/>
                <a:gd name="connsiteY17" fmla="*/ 2683251 h 3506211"/>
                <a:gd name="connsiteX18" fmla="*/ 20320 w 5969000"/>
                <a:gd name="connsiteY18" fmla="*/ 2434331 h 3506211"/>
                <a:gd name="connsiteX19" fmla="*/ 0 w 5969000"/>
                <a:gd name="connsiteY19" fmla="*/ 2119371 h 3506211"/>
                <a:gd name="connsiteX20" fmla="*/ 223520 w 5969000"/>
                <a:gd name="connsiteY20" fmla="*/ 1519931 h 3506211"/>
                <a:gd name="connsiteX21" fmla="*/ 391160 w 5969000"/>
                <a:gd name="connsiteY21" fmla="*/ 493771 h 3506211"/>
                <a:gd name="connsiteX22" fmla="*/ 802640 w 5969000"/>
                <a:gd name="connsiteY22" fmla="*/ 173731 h 3506211"/>
                <a:gd name="connsiteX23" fmla="*/ 3180079 w 5969000"/>
                <a:gd name="connsiteY23" fmla="*/ 41651 h 3506211"/>
                <a:gd name="connsiteX24" fmla="*/ 3301762 w 5969000"/>
                <a:gd name="connsiteY24" fmla="*/ 49 h 3506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969000" h="3506211">
                  <a:moveTo>
                    <a:pt x="3301762" y="49"/>
                  </a:moveTo>
                  <a:cubicBezTo>
                    <a:pt x="3302741" y="-126"/>
                    <a:pt x="3307292" y="165"/>
                    <a:pt x="3317240" y="1011"/>
                  </a:cubicBezTo>
                  <a:cubicBezTo>
                    <a:pt x="3490807" y="8631"/>
                    <a:pt x="3522979" y="19639"/>
                    <a:pt x="3637279" y="46732"/>
                  </a:cubicBezTo>
                  <a:cubicBezTo>
                    <a:pt x="3868419" y="63665"/>
                    <a:pt x="4324772" y="46731"/>
                    <a:pt x="4653279" y="97531"/>
                  </a:cubicBezTo>
                  <a:cubicBezTo>
                    <a:pt x="4981786" y="148331"/>
                    <a:pt x="5449993" y="158491"/>
                    <a:pt x="5608320" y="351531"/>
                  </a:cubicBezTo>
                  <a:cubicBezTo>
                    <a:pt x="5659120" y="476838"/>
                    <a:pt x="5679440" y="1404784"/>
                    <a:pt x="5715000" y="1931411"/>
                  </a:cubicBezTo>
                  <a:lnTo>
                    <a:pt x="5872480" y="2058411"/>
                  </a:lnTo>
                  <a:cubicBezTo>
                    <a:pt x="5894493" y="2312411"/>
                    <a:pt x="5936827" y="2546091"/>
                    <a:pt x="5969000" y="2789931"/>
                  </a:cubicBezTo>
                  <a:cubicBezTo>
                    <a:pt x="5955453" y="2906771"/>
                    <a:pt x="5901267" y="3135371"/>
                    <a:pt x="5826760" y="3267451"/>
                  </a:cubicBezTo>
                  <a:cubicBezTo>
                    <a:pt x="5737013" y="3357198"/>
                    <a:pt x="5615939" y="3319098"/>
                    <a:pt x="5420359" y="3282691"/>
                  </a:cubicBezTo>
                  <a:cubicBezTo>
                    <a:pt x="5179059" y="3297085"/>
                    <a:pt x="4639732" y="3324179"/>
                    <a:pt x="4378959" y="3353812"/>
                  </a:cubicBezTo>
                  <a:cubicBezTo>
                    <a:pt x="4070772" y="3392759"/>
                    <a:pt x="4053840" y="3501978"/>
                    <a:pt x="3865880" y="3506211"/>
                  </a:cubicBezTo>
                  <a:lnTo>
                    <a:pt x="3510280" y="3404611"/>
                  </a:lnTo>
                  <a:lnTo>
                    <a:pt x="2458720" y="3155691"/>
                  </a:lnTo>
                  <a:cubicBezTo>
                    <a:pt x="2181013" y="3081184"/>
                    <a:pt x="2281766" y="2988898"/>
                    <a:pt x="2016759" y="2896611"/>
                  </a:cubicBezTo>
                  <a:cubicBezTo>
                    <a:pt x="1751752" y="2804324"/>
                    <a:pt x="1286086" y="2728971"/>
                    <a:pt x="1031240" y="2708651"/>
                  </a:cubicBezTo>
                  <a:cubicBezTo>
                    <a:pt x="792480" y="2708651"/>
                    <a:pt x="802640" y="2840731"/>
                    <a:pt x="624840" y="2845811"/>
                  </a:cubicBezTo>
                  <a:lnTo>
                    <a:pt x="91440" y="2683251"/>
                  </a:lnTo>
                  <a:lnTo>
                    <a:pt x="20320" y="2434331"/>
                  </a:lnTo>
                  <a:lnTo>
                    <a:pt x="0" y="2119371"/>
                  </a:lnTo>
                  <a:cubicBezTo>
                    <a:pt x="8467" y="1889078"/>
                    <a:pt x="93133" y="1658784"/>
                    <a:pt x="223520" y="1519931"/>
                  </a:cubicBezTo>
                  <a:cubicBezTo>
                    <a:pt x="267547" y="1171104"/>
                    <a:pt x="311573" y="725758"/>
                    <a:pt x="391160" y="493771"/>
                  </a:cubicBezTo>
                  <a:cubicBezTo>
                    <a:pt x="441960" y="376931"/>
                    <a:pt x="655320" y="234691"/>
                    <a:pt x="802640" y="173731"/>
                  </a:cubicBezTo>
                  <a:lnTo>
                    <a:pt x="3180079" y="41651"/>
                  </a:lnTo>
                  <a:cubicBezTo>
                    <a:pt x="3463078" y="25353"/>
                    <a:pt x="3294909" y="1276"/>
                    <a:pt x="3301762" y="49"/>
                  </a:cubicBezTo>
                  <a:close/>
                </a:path>
              </a:pathLst>
            </a:custGeom>
          </p:spPr>
        </p:pic>
        <p:pic>
          <p:nvPicPr>
            <p:cNvPr id="51" name="Picture 50"/>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flipH="1">
              <a:off x="3379464" y="5378456"/>
              <a:ext cx="271736" cy="206344"/>
            </a:xfrm>
            <a:prstGeom prst="rect">
              <a:avLst/>
            </a:prstGeom>
          </p:spPr>
        </p:pic>
      </p:grpSp>
      <p:grpSp>
        <p:nvGrpSpPr>
          <p:cNvPr id="174" name="グループ化 173"/>
          <p:cNvGrpSpPr/>
          <p:nvPr/>
        </p:nvGrpSpPr>
        <p:grpSpPr>
          <a:xfrm>
            <a:off x="6267762" y="5399000"/>
            <a:ext cx="930788" cy="1072884"/>
            <a:chOff x="7143097" y="5698837"/>
            <a:chExt cx="714784" cy="823905"/>
          </a:xfrm>
          <a:effectLst>
            <a:glow rad="50800">
              <a:schemeClr val="bg1"/>
            </a:glow>
          </a:effectLst>
        </p:grpSpPr>
        <p:pic>
          <p:nvPicPr>
            <p:cNvPr id="300" name="Picture 299"/>
            <p:cNvPicPr>
              <a:picLocks noChangeAspect="1"/>
            </p:cNvPicPr>
            <p:nvPr/>
          </p:nvPicPr>
          <p:blipFill rotWithShape="1">
            <a:blip r:embed="rId51"/>
            <a:srcRect l="6472" r="6472"/>
            <a:stretch/>
          </p:blipFill>
          <p:spPr>
            <a:xfrm>
              <a:off x="7225397" y="5889985"/>
              <a:ext cx="596106" cy="596104"/>
            </a:xfrm>
            <a:prstGeom prst="ellipse">
              <a:avLst/>
            </a:prstGeom>
            <a:solidFill>
              <a:schemeClr val="bg1">
                <a:lumMod val="95000"/>
              </a:schemeClr>
            </a:solidFill>
            <a:ln w="28575" cap="flat" cmpd="sng" algn="ctr">
              <a:noFill/>
              <a:prstDash val="solid"/>
              <a:miter lim="800000"/>
              <a:headEnd type="none" w="med" len="med"/>
              <a:tailEnd type="none" w="med" len="med"/>
            </a:ln>
            <a:effectLst/>
            <a:extLst>
              <a:ext uri="{91240B29-F687-4F45-9708-019B960494DF}">
                <a14:hiddenLine xmlns:a14="http://schemas.microsoft.com/office/drawing/2010/main" w="28575" cap="flat" cmpd="sng" algn="ctr">
                  <a:solidFill>
                    <a:srgbClr val="BE569E"/>
                  </a:solidFill>
                  <a:prstDash val="solid"/>
                  <a:miter lim="800000"/>
                  <a:headEnd type="none" w="med" len="med"/>
                  <a:tailEnd type="none" w="med" len="med"/>
                </a14:hiddenLine>
              </a:ext>
            </a:extLst>
          </p:spPr>
        </p:pic>
        <p:sp>
          <p:nvSpPr>
            <p:cNvPr id="323" name="Isosceles Triangle 322"/>
            <p:cNvSpPr/>
            <p:nvPr/>
          </p:nvSpPr>
          <p:spPr>
            <a:xfrm rot="19258170">
              <a:off x="7143097" y="5698837"/>
              <a:ext cx="130822" cy="282716"/>
            </a:xfrm>
            <a:prstGeom prst="triangle">
              <a:avLst>
                <a:gd name="adj" fmla="val 97314"/>
              </a:avLst>
            </a:prstGeom>
            <a:solidFill>
              <a:srgbClr val="EB971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defRPr/>
              </a:pPr>
              <a:endParaRPr lang="en-US" sz="1400" dirty="0">
                <a:solidFill>
                  <a:srgbClr val="000000"/>
                </a:solidFill>
                <a:latin typeface="Trebuchet MS"/>
                <a:ea typeface="Meiryo UI"/>
                <a:cs typeface="Arial" pitchFamily="34" charset="0"/>
              </a:endParaRPr>
            </a:p>
          </p:txBody>
        </p:sp>
        <p:sp>
          <p:nvSpPr>
            <p:cNvPr id="324" name="Oval 323"/>
            <p:cNvSpPr/>
            <p:nvPr/>
          </p:nvSpPr>
          <p:spPr>
            <a:xfrm>
              <a:off x="7188472" y="5853333"/>
              <a:ext cx="669409" cy="669409"/>
            </a:xfrm>
            <a:prstGeom prst="ellipse">
              <a:avLst/>
            </a:prstGeom>
            <a:noFill/>
            <a:ln w="76200">
              <a:solidFill>
                <a:srgbClr val="EB971D"/>
              </a:solidFill>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defRPr/>
              </a:pPr>
              <a:endParaRPr lang="en-US" sz="1400" dirty="0">
                <a:solidFill>
                  <a:srgbClr val="000000"/>
                </a:solidFill>
                <a:latin typeface="Trebuchet MS"/>
                <a:ea typeface="Meiryo UI"/>
                <a:cs typeface="Arial" pitchFamily="34" charset="0"/>
              </a:endParaRPr>
            </a:p>
          </p:txBody>
        </p:sp>
      </p:grpSp>
      <p:grpSp>
        <p:nvGrpSpPr>
          <p:cNvPr id="27" name="Group 26"/>
          <p:cNvGrpSpPr/>
          <p:nvPr/>
        </p:nvGrpSpPr>
        <p:grpSpPr>
          <a:xfrm>
            <a:off x="4749432" y="5295391"/>
            <a:ext cx="871700" cy="1190105"/>
            <a:chOff x="3493803" y="5689440"/>
            <a:chExt cx="669409" cy="913923"/>
          </a:xfrm>
          <a:effectLst>
            <a:glow rad="50800">
              <a:schemeClr val="bg1"/>
            </a:glow>
          </a:effectLst>
        </p:grpSpPr>
        <p:sp>
          <p:nvSpPr>
            <p:cNvPr id="177" name="Isosceles Triangle 176"/>
            <p:cNvSpPr/>
            <p:nvPr/>
          </p:nvSpPr>
          <p:spPr>
            <a:xfrm rot="1459595" flipH="1">
              <a:off x="3943170" y="5689440"/>
              <a:ext cx="153186" cy="290601"/>
            </a:xfrm>
            <a:prstGeom prst="triangle">
              <a:avLst>
                <a:gd name="adj" fmla="val 97314"/>
              </a:avLst>
            </a:prstGeom>
            <a:solidFill>
              <a:srgbClr val="9665E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defRPr/>
              </a:pPr>
              <a:endParaRPr lang="en-US" sz="1400" dirty="0">
                <a:solidFill>
                  <a:srgbClr val="000000"/>
                </a:solidFill>
                <a:latin typeface="Trebuchet MS"/>
                <a:ea typeface="Meiryo UI"/>
                <a:cs typeface="Arial" pitchFamily="34" charset="0"/>
              </a:endParaRPr>
            </a:p>
          </p:txBody>
        </p:sp>
        <p:sp>
          <p:nvSpPr>
            <p:cNvPr id="24" name="Oval 23"/>
            <p:cNvSpPr/>
            <p:nvPr/>
          </p:nvSpPr>
          <p:spPr>
            <a:xfrm>
              <a:off x="3493803" y="5933954"/>
              <a:ext cx="669409" cy="669409"/>
            </a:xfrm>
            <a:prstGeom prst="ellipse">
              <a:avLst/>
            </a:prstGeom>
            <a:noFill/>
            <a:ln w="76200">
              <a:solidFill>
                <a:srgbClr val="9665ED"/>
              </a:solidFill>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defRPr/>
              </a:pPr>
              <a:endParaRPr lang="en-US" sz="1400" dirty="0">
                <a:solidFill>
                  <a:srgbClr val="000000"/>
                </a:solidFill>
                <a:latin typeface="Trebuchet MS"/>
                <a:ea typeface="Meiryo UI"/>
                <a:cs typeface="Arial" pitchFamily="34" charset="0"/>
              </a:endParaRPr>
            </a:p>
          </p:txBody>
        </p:sp>
        <p:pic>
          <p:nvPicPr>
            <p:cNvPr id="166" name="Picture 165"/>
            <p:cNvPicPr>
              <a:picLocks noChangeAspect="1"/>
            </p:cNvPicPr>
            <p:nvPr/>
          </p:nvPicPr>
          <p:blipFill>
            <a:blip r:embed="rId8"/>
            <a:stretch>
              <a:fillRect/>
            </a:stretch>
          </p:blipFill>
          <p:spPr>
            <a:xfrm flipH="1">
              <a:off x="3912961" y="6034946"/>
              <a:ext cx="96912" cy="215360"/>
            </a:xfrm>
            <a:prstGeom prst="rect">
              <a:avLst/>
            </a:prstGeom>
          </p:spPr>
        </p:pic>
        <p:pic>
          <p:nvPicPr>
            <p:cNvPr id="238" name="Picture 237"/>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3570939" y="6049471"/>
              <a:ext cx="321385" cy="331550"/>
            </a:xfrm>
            <a:prstGeom prst="rect">
              <a:avLst/>
            </a:prstGeom>
          </p:spPr>
        </p:pic>
        <p:pic>
          <p:nvPicPr>
            <p:cNvPr id="52" name="Picture 51"/>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flipH="1">
              <a:off x="3874877" y="6253481"/>
              <a:ext cx="171875" cy="243565"/>
            </a:xfrm>
            <a:prstGeom prst="rect">
              <a:avLst/>
            </a:prstGeom>
          </p:spPr>
        </p:pic>
      </p:grpSp>
      <p:grpSp>
        <p:nvGrpSpPr>
          <p:cNvPr id="172" name="グループ化 171"/>
          <p:cNvGrpSpPr/>
          <p:nvPr/>
        </p:nvGrpSpPr>
        <p:grpSpPr>
          <a:xfrm>
            <a:off x="8581824" y="4868959"/>
            <a:ext cx="1395823" cy="871700"/>
            <a:chOff x="8500135" y="4567876"/>
            <a:chExt cx="1071901" cy="669409"/>
          </a:xfrm>
        </p:grpSpPr>
        <p:pic>
          <p:nvPicPr>
            <p:cNvPr id="389" name="Picture 144"/>
            <p:cNvPicPr>
              <a:picLocks noChangeAspect="1"/>
            </p:cNvPicPr>
            <p:nvPr/>
          </p:nvPicPr>
          <p:blipFill>
            <a:blip r:embed="rId42"/>
            <a:srcRect l="1126" t="938" r="2621" b="5161"/>
            <a:stretch>
              <a:fillRect/>
            </a:stretch>
          </p:blipFill>
          <p:spPr>
            <a:xfrm>
              <a:off x="9106076" y="4658009"/>
              <a:ext cx="322918" cy="189683"/>
            </a:xfrm>
            <a:custGeom>
              <a:avLst/>
              <a:gdLst>
                <a:gd name="connsiteX0" fmla="*/ 3301762 w 5969000"/>
                <a:gd name="connsiteY0" fmla="*/ 49 h 3506211"/>
                <a:gd name="connsiteX1" fmla="*/ 3317240 w 5969000"/>
                <a:gd name="connsiteY1" fmla="*/ 1011 h 3506211"/>
                <a:gd name="connsiteX2" fmla="*/ 3637279 w 5969000"/>
                <a:gd name="connsiteY2" fmla="*/ 46732 h 3506211"/>
                <a:gd name="connsiteX3" fmla="*/ 4653279 w 5969000"/>
                <a:gd name="connsiteY3" fmla="*/ 97531 h 3506211"/>
                <a:gd name="connsiteX4" fmla="*/ 5608320 w 5969000"/>
                <a:gd name="connsiteY4" fmla="*/ 351531 h 3506211"/>
                <a:gd name="connsiteX5" fmla="*/ 5715000 w 5969000"/>
                <a:gd name="connsiteY5" fmla="*/ 1931411 h 3506211"/>
                <a:gd name="connsiteX6" fmla="*/ 5872480 w 5969000"/>
                <a:gd name="connsiteY6" fmla="*/ 2058411 h 3506211"/>
                <a:gd name="connsiteX7" fmla="*/ 5969000 w 5969000"/>
                <a:gd name="connsiteY7" fmla="*/ 2789931 h 3506211"/>
                <a:gd name="connsiteX8" fmla="*/ 5826760 w 5969000"/>
                <a:gd name="connsiteY8" fmla="*/ 3267451 h 3506211"/>
                <a:gd name="connsiteX9" fmla="*/ 5420359 w 5969000"/>
                <a:gd name="connsiteY9" fmla="*/ 3282691 h 3506211"/>
                <a:gd name="connsiteX10" fmla="*/ 4378959 w 5969000"/>
                <a:gd name="connsiteY10" fmla="*/ 3353812 h 3506211"/>
                <a:gd name="connsiteX11" fmla="*/ 3865880 w 5969000"/>
                <a:gd name="connsiteY11" fmla="*/ 3506211 h 3506211"/>
                <a:gd name="connsiteX12" fmla="*/ 3510280 w 5969000"/>
                <a:gd name="connsiteY12" fmla="*/ 3404611 h 3506211"/>
                <a:gd name="connsiteX13" fmla="*/ 2458720 w 5969000"/>
                <a:gd name="connsiteY13" fmla="*/ 3155691 h 3506211"/>
                <a:gd name="connsiteX14" fmla="*/ 2016759 w 5969000"/>
                <a:gd name="connsiteY14" fmla="*/ 2896611 h 3506211"/>
                <a:gd name="connsiteX15" fmla="*/ 1031240 w 5969000"/>
                <a:gd name="connsiteY15" fmla="*/ 2708651 h 3506211"/>
                <a:gd name="connsiteX16" fmla="*/ 624840 w 5969000"/>
                <a:gd name="connsiteY16" fmla="*/ 2845811 h 3506211"/>
                <a:gd name="connsiteX17" fmla="*/ 91440 w 5969000"/>
                <a:gd name="connsiteY17" fmla="*/ 2683251 h 3506211"/>
                <a:gd name="connsiteX18" fmla="*/ 20320 w 5969000"/>
                <a:gd name="connsiteY18" fmla="*/ 2434331 h 3506211"/>
                <a:gd name="connsiteX19" fmla="*/ 0 w 5969000"/>
                <a:gd name="connsiteY19" fmla="*/ 2119371 h 3506211"/>
                <a:gd name="connsiteX20" fmla="*/ 223520 w 5969000"/>
                <a:gd name="connsiteY20" fmla="*/ 1519931 h 3506211"/>
                <a:gd name="connsiteX21" fmla="*/ 391160 w 5969000"/>
                <a:gd name="connsiteY21" fmla="*/ 493771 h 3506211"/>
                <a:gd name="connsiteX22" fmla="*/ 802640 w 5969000"/>
                <a:gd name="connsiteY22" fmla="*/ 173731 h 3506211"/>
                <a:gd name="connsiteX23" fmla="*/ 3180079 w 5969000"/>
                <a:gd name="connsiteY23" fmla="*/ 41651 h 3506211"/>
                <a:gd name="connsiteX24" fmla="*/ 3301762 w 5969000"/>
                <a:gd name="connsiteY24" fmla="*/ 49 h 3506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969000" h="3506211">
                  <a:moveTo>
                    <a:pt x="3301762" y="49"/>
                  </a:moveTo>
                  <a:cubicBezTo>
                    <a:pt x="3302741" y="-126"/>
                    <a:pt x="3307292" y="165"/>
                    <a:pt x="3317240" y="1011"/>
                  </a:cubicBezTo>
                  <a:cubicBezTo>
                    <a:pt x="3490807" y="8631"/>
                    <a:pt x="3522979" y="19639"/>
                    <a:pt x="3637279" y="46732"/>
                  </a:cubicBezTo>
                  <a:cubicBezTo>
                    <a:pt x="3868419" y="63665"/>
                    <a:pt x="4324772" y="46731"/>
                    <a:pt x="4653279" y="97531"/>
                  </a:cubicBezTo>
                  <a:cubicBezTo>
                    <a:pt x="4981786" y="148331"/>
                    <a:pt x="5449993" y="158491"/>
                    <a:pt x="5608320" y="351531"/>
                  </a:cubicBezTo>
                  <a:cubicBezTo>
                    <a:pt x="5659120" y="476838"/>
                    <a:pt x="5679440" y="1404784"/>
                    <a:pt x="5715000" y="1931411"/>
                  </a:cubicBezTo>
                  <a:lnTo>
                    <a:pt x="5872480" y="2058411"/>
                  </a:lnTo>
                  <a:cubicBezTo>
                    <a:pt x="5894493" y="2312411"/>
                    <a:pt x="5936827" y="2546091"/>
                    <a:pt x="5969000" y="2789931"/>
                  </a:cubicBezTo>
                  <a:cubicBezTo>
                    <a:pt x="5955453" y="2906771"/>
                    <a:pt x="5901267" y="3135371"/>
                    <a:pt x="5826760" y="3267451"/>
                  </a:cubicBezTo>
                  <a:cubicBezTo>
                    <a:pt x="5737013" y="3357198"/>
                    <a:pt x="5615939" y="3319098"/>
                    <a:pt x="5420359" y="3282691"/>
                  </a:cubicBezTo>
                  <a:cubicBezTo>
                    <a:pt x="5179059" y="3297085"/>
                    <a:pt x="4639732" y="3324179"/>
                    <a:pt x="4378959" y="3353812"/>
                  </a:cubicBezTo>
                  <a:cubicBezTo>
                    <a:pt x="4070772" y="3392759"/>
                    <a:pt x="4053840" y="3501978"/>
                    <a:pt x="3865880" y="3506211"/>
                  </a:cubicBezTo>
                  <a:lnTo>
                    <a:pt x="3510280" y="3404611"/>
                  </a:lnTo>
                  <a:lnTo>
                    <a:pt x="2458720" y="3155691"/>
                  </a:lnTo>
                  <a:cubicBezTo>
                    <a:pt x="2181013" y="3081184"/>
                    <a:pt x="2281766" y="2988898"/>
                    <a:pt x="2016759" y="2896611"/>
                  </a:cubicBezTo>
                  <a:cubicBezTo>
                    <a:pt x="1751752" y="2804324"/>
                    <a:pt x="1286086" y="2728971"/>
                    <a:pt x="1031240" y="2708651"/>
                  </a:cubicBezTo>
                  <a:cubicBezTo>
                    <a:pt x="792480" y="2708651"/>
                    <a:pt x="802640" y="2840731"/>
                    <a:pt x="624840" y="2845811"/>
                  </a:cubicBezTo>
                  <a:lnTo>
                    <a:pt x="91440" y="2683251"/>
                  </a:lnTo>
                  <a:lnTo>
                    <a:pt x="20320" y="2434331"/>
                  </a:lnTo>
                  <a:lnTo>
                    <a:pt x="0" y="2119371"/>
                  </a:lnTo>
                  <a:cubicBezTo>
                    <a:pt x="8467" y="1889078"/>
                    <a:pt x="93133" y="1658784"/>
                    <a:pt x="223520" y="1519931"/>
                  </a:cubicBezTo>
                  <a:cubicBezTo>
                    <a:pt x="267547" y="1171104"/>
                    <a:pt x="311573" y="725758"/>
                    <a:pt x="391160" y="493771"/>
                  </a:cubicBezTo>
                  <a:cubicBezTo>
                    <a:pt x="441960" y="376931"/>
                    <a:pt x="655320" y="234691"/>
                    <a:pt x="802640" y="173731"/>
                  </a:cubicBezTo>
                  <a:lnTo>
                    <a:pt x="3180079" y="41651"/>
                  </a:lnTo>
                  <a:cubicBezTo>
                    <a:pt x="3463078" y="25353"/>
                    <a:pt x="3294909" y="1276"/>
                    <a:pt x="3301762" y="49"/>
                  </a:cubicBezTo>
                  <a:close/>
                </a:path>
              </a:pathLst>
            </a:custGeom>
          </p:spPr>
        </p:pic>
        <p:grpSp>
          <p:nvGrpSpPr>
            <p:cNvPr id="163" name="グループ化 162"/>
            <p:cNvGrpSpPr/>
            <p:nvPr/>
          </p:nvGrpSpPr>
          <p:grpSpPr>
            <a:xfrm>
              <a:off x="8500135" y="4567876"/>
              <a:ext cx="1071901" cy="669409"/>
              <a:chOff x="8500135" y="4567876"/>
              <a:chExt cx="1071901" cy="669409"/>
            </a:xfrm>
          </p:grpSpPr>
          <p:sp>
            <p:nvSpPr>
              <p:cNvPr id="370" name="Oval 369"/>
              <p:cNvSpPr/>
              <p:nvPr/>
            </p:nvSpPr>
            <p:spPr>
              <a:xfrm>
                <a:off x="8884239" y="4567876"/>
                <a:ext cx="687797" cy="669409"/>
              </a:xfrm>
              <a:prstGeom prst="ellipse">
                <a:avLst/>
              </a:prstGeom>
              <a:noFill/>
              <a:ln w="76200">
                <a:solidFill>
                  <a:srgbClr val="5E82F4"/>
                </a:solidFill>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defRPr/>
                </a:pPr>
                <a:endParaRPr lang="en-US" sz="1400" dirty="0">
                  <a:solidFill>
                    <a:srgbClr val="000000"/>
                  </a:solidFill>
                  <a:latin typeface="Trebuchet MS"/>
                  <a:ea typeface="Meiryo UI"/>
                  <a:cs typeface="Arial" pitchFamily="34" charset="0"/>
                </a:endParaRPr>
              </a:p>
            </p:txBody>
          </p:sp>
          <p:sp>
            <p:nvSpPr>
              <p:cNvPr id="369" name="Isosceles Triangle 368"/>
              <p:cNvSpPr/>
              <p:nvPr/>
            </p:nvSpPr>
            <p:spPr>
              <a:xfrm rot="16976015">
                <a:off x="8625866" y="4600219"/>
                <a:ext cx="135888" cy="387350"/>
              </a:xfrm>
              <a:prstGeom prst="triangle">
                <a:avLst>
                  <a:gd name="adj" fmla="val 100000"/>
                </a:avLst>
              </a:prstGeom>
              <a:solidFill>
                <a:srgbClr val="5E82F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defRPr/>
                </a:pPr>
                <a:endParaRPr lang="en-US" sz="1400" dirty="0">
                  <a:solidFill>
                    <a:srgbClr val="000000"/>
                  </a:solidFill>
                  <a:latin typeface="Trebuchet MS"/>
                  <a:ea typeface="Meiryo UI"/>
                  <a:cs typeface="Arial" pitchFamily="34" charset="0"/>
                </a:endParaRPr>
              </a:p>
            </p:txBody>
          </p:sp>
        </p:grpSp>
        <p:sp>
          <p:nvSpPr>
            <p:cNvPr id="391" name="AutoShape 3"/>
            <p:cNvSpPr>
              <a:spLocks noChangeAspect="1" noChangeArrowheads="1" noTextEdit="1"/>
            </p:cNvSpPr>
            <p:nvPr/>
          </p:nvSpPr>
          <p:spPr bwMode="auto">
            <a:xfrm>
              <a:off x="8962408" y="4763332"/>
              <a:ext cx="415814" cy="415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kumimoji="0" lang="en-US" dirty="0">
                <a:solidFill>
                  <a:srgbClr val="000000"/>
                </a:solidFill>
                <a:latin typeface="Trebuchet MS"/>
                <a:ea typeface="Meiryo UI"/>
              </a:endParaRPr>
            </a:p>
          </p:txBody>
        </p:sp>
        <p:grpSp>
          <p:nvGrpSpPr>
            <p:cNvPr id="32" name="Group 31"/>
            <p:cNvGrpSpPr/>
            <p:nvPr/>
          </p:nvGrpSpPr>
          <p:grpSpPr>
            <a:xfrm>
              <a:off x="9056251" y="4882854"/>
              <a:ext cx="217776" cy="256562"/>
              <a:chOff x="7292978" y="4965211"/>
              <a:chExt cx="280097" cy="329982"/>
            </a:xfrm>
          </p:grpSpPr>
          <p:sp>
            <p:nvSpPr>
              <p:cNvPr id="393" name="Freeform 392"/>
              <p:cNvSpPr>
                <a:spLocks/>
              </p:cNvSpPr>
              <p:nvPr/>
            </p:nvSpPr>
            <p:spPr bwMode="auto">
              <a:xfrm>
                <a:off x="7440438" y="4987445"/>
                <a:ext cx="117814" cy="307748"/>
              </a:xfrm>
              <a:custGeom>
                <a:avLst/>
                <a:gdLst>
                  <a:gd name="connsiteX0" fmla="*/ 171859 w 1943100"/>
                  <a:gd name="connsiteY0" fmla="*/ 1927126 h 5075666"/>
                  <a:gd name="connsiteX1" fmla="*/ 339253 w 1943100"/>
                  <a:gd name="connsiteY1" fmla="*/ 1931590 h 5075666"/>
                  <a:gd name="connsiteX2" fmla="*/ 842180 w 1943100"/>
                  <a:gd name="connsiteY2" fmla="*/ 2431653 h 5075666"/>
                  <a:gd name="connsiteX3" fmla="*/ 842180 w 1943100"/>
                  <a:gd name="connsiteY3" fmla="*/ 4452739 h 5075666"/>
                  <a:gd name="connsiteX4" fmla="*/ 1095131 w 1943100"/>
                  <a:gd name="connsiteY4" fmla="*/ 4771231 h 5075666"/>
                  <a:gd name="connsiteX5" fmla="*/ 1419504 w 1943100"/>
                  <a:gd name="connsiteY5" fmla="*/ 4586684 h 5075666"/>
                  <a:gd name="connsiteX6" fmla="*/ 1425456 w 1943100"/>
                  <a:gd name="connsiteY6" fmla="*/ 4336653 h 5075666"/>
                  <a:gd name="connsiteX7" fmla="*/ 1303444 w 1943100"/>
                  <a:gd name="connsiteY7" fmla="*/ 3428801 h 5075666"/>
                  <a:gd name="connsiteX8" fmla="*/ 1187384 w 1943100"/>
                  <a:gd name="connsiteY8" fmla="*/ 2011957 h 5075666"/>
                  <a:gd name="connsiteX9" fmla="*/ 1496878 w 1943100"/>
                  <a:gd name="connsiteY9" fmla="*/ 2011957 h 5075666"/>
                  <a:gd name="connsiteX10" fmla="*/ 1589131 w 1943100"/>
                  <a:gd name="connsiteY10" fmla="*/ 3291880 h 5075666"/>
                  <a:gd name="connsiteX11" fmla="*/ 1734950 w 1943100"/>
                  <a:gd name="connsiteY11" fmla="*/ 4372372 h 5075666"/>
                  <a:gd name="connsiteX12" fmla="*/ 1178456 w 1943100"/>
                  <a:gd name="connsiteY12" fmla="*/ 5074841 h 5075666"/>
                  <a:gd name="connsiteX13" fmla="*/ 541614 w 1943100"/>
                  <a:gd name="connsiteY13" fmla="*/ 4440833 h 5075666"/>
                  <a:gd name="connsiteX14" fmla="*/ 541614 w 1943100"/>
                  <a:gd name="connsiteY14" fmla="*/ 2458442 h 5075666"/>
                  <a:gd name="connsiteX15" fmla="*/ 312470 w 1943100"/>
                  <a:gd name="connsiteY15" fmla="*/ 2229247 h 5075666"/>
                  <a:gd name="connsiteX16" fmla="*/ 0 w 1943100"/>
                  <a:gd name="connsiteY16" fmla="*/ 2229247 h 5075666"/>
                  <a:gd name="connsiteX17" fmla="*/ 0 w 1943100"/>
                  <a:gd name="connsiteY17" fmla="*/ 1931590 h 5075666"/>
                  <a:gd name="connsiteX18" fmla="*/ 171859 w 1943100"/>
                  <a:gd name="connsiteY18" fmla="*/ 1927126 h 5075666"/>
                  <a:gd name="connsiteX19" fmla="*/ 925422 w 1943100"/>
                  <a:gd name="connsiteY19" fmla="*/ 0 h 5075666"/>
                  <a:gd name="connsiteX20" fmla="*/ 1054100 w 1943100"/>
                  <a:gd name="connsiteY20" fmla="*/ 127992 h 5075666"/>
                  <a:gd name="connsiteX21" fmla="*/ 1054100 w 1943100"/>
                  <a:gd name="connsiteY21" fmla="*/ 491133 h 5075666"/>
                  <a:gd name="connsiteX22" fmla="*/ 925422 w 1943100"/>
                  <a:gd name="connsiteY22" fmla="*/ 619125 h 5075666"/>
                  <a:gd name="connsiteX23" fmla="*/ 793750 w 1943100"/>
                  <a:gd name="connsiteY23" fmla="*/ 491133 h 5075666"/>
                  <a:gd name="connsiteX24" fmla="*/ 793750 w 1943100"/>
                  <a:gd name="connsiteY24" fmla="*/ 127992 h 5075666"/>
                  <a:gd name="connsiteX25" fmla="*/ 925422 w 1943100"/>
                  <a:gd name="connsiteY25" fmla="*/ 0 h 5075666"/>
                  <a:gd name="connsiteX26" fmla="*/ 1812611 w 1943100"/>
                  <a:gd name="connsiteY26" fmla="*/ 0 h 5075666"/>
                  <a:gd name="connsiteX27" fmla="*/ 1943100 w 1943100"/>
                  <a:gd name="connsiteY27" fmla="*/ 127992 h 5075666"/>
                  <a:gd name="connsiteX28" fmla="*/ 1943100 w 1943100"/>
                  <a:gd name="connsiteY28" fmla="*/ 491133 h 5075666"/>
                  <a:gd name="connsiteX29" fmla="*/ 1812611 w 1943100"/>
                  <a:gd name="connsiteY29" fmla="*/ 619125 h 5075666"/>
                  <a:gd name="connsiteX30" fmla="*/ 1673225 w 1943100"/>
                  <a:gd name="connsiteY30" fmla="*/ 491133 h 5075666"/>
                  <a:gd name="connsiteX31" fmla="*/ 1673225 w 1943100"/>
                  <a:gd name="connsiteY31" fmla="*/ 127992 h 5075666"/>
                  <a:gd name="connsiteX32" fmla="*/ 1812611 w 1943100"/>
                  <a:gd name="connsiteY32" fmla="*/ 0 h 5075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943100" h="5075666">
                    <a:moveTo>
                      <a:pt x="171859" y="1927126"/>
                    </a:moveTo>
                    <a:cubicBezTo>
                      <a:pt x="227657" y="1927126"/>
                      <a:pt x="282711" y="1928614"/>
                      <a:pt x="339253" y="1931590"/>
                    </a:cubicBezTo>
                    <a:cubicBezTo>
                      <a:pt x="660650" y="1931590"/>
                      <a:pt x="842180" y="2110184"/>
                      <a:pt x="842180" y="2431653"/>
                    </a:cubicBezTo>
                    <a:cubicBezTo>
                      <a:pt x="842180" y="3104356"/>
                      <a:pt x="842180" y="3780036"/>
                      <a:pt x="842180" y="4452739"/>
                    </a:cubicBezTo>
                    <a:cubicBezTo>
                      <a:pt x="842180" y="4622403"/>
                      <a:pt x="943360" y="4744442"/>
                      <a:pt x="1095131" y="4771231"/>
                    </a:cubicBezTo>
                    <a:cubicBezTo>
                      <a:pt x="1229047" y="4798020"/>
                      <a:pt x="1380818" y="4720630"/>
                      <a:pt x="1419504" y="4586684"/>
                    </a:cubicBezTo>
                    <a:cubicBezTo>
                      <a:pt x="1440336" y="4506317"/>
                      <a:pt x="1437360" y="4417020"/>
                      <a:pt x="1425456" y="4336653"/>
                    </a:cubicBezTo>
                    <a:cubicBezTo>
                      <a:pt x="1389745" y="4030067"/>
                      <a:pt x="1333203" y="3732411"/>
                      <a:pt x="1303444" y="3428801"/>
                    </a:cubicBezTo>
                    <a:cubicBezTo>
                      <a:pt x="1258806" y="2964458"/>
                      <a:pt x="1226071" y="2500114"/>
                      <a:pt x="1187384" y="2011957"/>
                    </a:cubicBezTo>
                    <a:cubicBezTo>
                      <a:pt x="1187384" y="2011957"/>
                      <a:pt x="1187384" y="2011957"/>
                      <a:pt x="1496878" y="2011957"/>
                    </a:cubicBezTo>
                    <a:cubicBezTo>
                      <a:pt x="1526637" y="2431653"/>
                      <a:pt x="1547468" y="2863254"/>
                      <a:pt x="1589131" y="3291880"/>
                    </a:cubicBezTo>
                    <a:cubicBezTo>
                      <a:pt x="1624841" y="3655020"/>
                      <a:pt x="1690311" y="4012208"/>
                      <a:pt x="1734950" y="4372372"/>
                    </a:cubicBezTo>
                    <a:cubicBezTo>
                      <a:pt x="1779588" y="4753372"/>
                      <a:pt x="1538540" y="5056981"/>
                      <a:pt x="1178456" y="5074841"/>
                    </a:cubicBezTo>
                    <a:cubicBezTo>
                      <a:pt x="821349" y="5092700"/>
                      <a:pt x="541614" y="4818856"/>
                      <a:pt x="541614" y="4440833"/>
                    </a:cubicBezTo>
                    <a:cubicBezTo>
                      <a:pt x="541614" y="3780036"/>
                      <a:pt x="541614" y="3119239"/>
                      <a:pt x="541614" y="2458442"/>
                    </a:cubicBezTo>
                    <a:cubicBezTo>
                      <a:pt x="541614" y="2270918"/>
                      <a:pt x="499951" y="2229247"/>
                      <a:pt x="312470" y="2229247"/>
                    </a:cubicBezTo>
                    <a:cubicBezTo>
                      <a:pt x="211289" y="2229247"/>
                      <a:pt x="110109" y="2229247"/>
                      <a:pt x="0" y="2229247"/>
                    </a:cubicBezTo>
                    <a:cubicBezTo>
                      <a:pt x="0" y="2229247"/>
                      <a:pt x="0" y="2229247"/>
                      <a:pt x="0" y="1931590"/>
                    </a:cubicBezTo>
                    <a:cubicBezTo>
                      <a:pt x="59518" y="1928614"/>
                      <a:pt x="116060" y="1927126"/>
                      <a:pt x="171859" y="1927126"/>
                    </a:cubicBezTo>
                    <a:close/>
                    <a:moveTo>
                      <a:pt x="925422" y="0"/>
                    </a:moveTo>
                    <a:cubicBezTo>
                      <a:pt x="997242" y="0"/>
                      <a:pt x="1054100" y="59531"/>
                      <a:pt x="1054100" y="127992"/>
                    </a:cubicBezTo>
                    <a:cubicBezTo>
                      <a:pt x="1054100" y="491133"/>
                      <a:pt x="1054100" y="491133"/>
                      <a:pt x="1054100" y="491133"/>
                    </a:cubicBezTo>
                    <a:cubicBezTo>
                      <a:pt x="1054100" y="559594"/>
                      <a:pt x="997242" y="619125"/>
                      <a:pt x="925422" y="619125"/>
                    </a:cubicBezTo>
                    <a:cubicBezTo>
                      <a:pt x="850608" y="619125"/>
                      <a:pt x="793750" y="559594"/>
                      <a:pt x="793750" y="491133"/>
                    </a:cubicBezTo>
                    <a:cubicBezTo>
                      <a:pt x="793750" y="127992"/>
                      <a:pt x="793750" y="127992"/>
                      <a:pt x="793750" y="127992"/>
                    </a:cubicBezTo>
                    <a:cubicBezTo>
                      <a:pt x="793750" y="59531"/>
                      <a:pt x="850608" y="0"/>
                      <a:pt x="925422" y="0"/>
                    </a:cubicBezTo>
                    <a:close/>
                    <a:moveTo>
                      <a:pt x="1812611" y="0"/>
                    </a:moveTo>
                    <a:cubicBezTo>
                      <a:pt x="1883787" y="0"/>
                      <a:pt x="1943100" y="59531"/>
                      <a:pt x="1943100" y="127992"/>
                    </a:cubicBezTo>
                    <a:cubicBezTo>
                      <a:pt x="1943100" y="491133"/>
                      <a:pt x="1943100" y="491133"/>
                      <a:pt x="1943100" y="491133"/>
                    </a:cubicBezTo>
                    <a:cubicBezTo>
                      <a:pt x="1943100" y="559594"/>
                      <a:pt x="1883787" y="619125"/>
                      <a:pt x="1812611" y="619125"/>
                    </a:cubicBezTo>
                    <a:cubicBezTo>
                      <a:pt x="1735504" y="619125"/>
                      <a:pt x="1673225" y="559594"/>
                      <a:pt x="1673225" y="491133"/>
                    </a:cubicBezTo>
                    <a:cubicBezTo>
                      <a:pt x="1673225" y="127992"/>
                      <a:pt x="1673225" y="127992"/>
                      <a:pt x="1673225" y="127992"/>
                    </a:cubicBezTo>
                    <a:cubicBezTo>
                      <a:pt x="1673225" y="59531"/>
                      <a:pt x="1735504" y="0"/>
                      <a:pt x="1812611" y="0"/>
                    </a:cubicBezTo>
                    <a:close/>
                  </a:path>
                </a:pathLst>
              </a:custGeom>
              <a:solidFill>
                <a:srgbClr val="3EAD92"/>
              </a:solidFill>
              <a:ln>
                <a:noFill/>
              </a:ln>
            </p:spPr>
            <p:txBody>
              <a:bodyPr vert="horz" wrap="square" lIns="91440" tIns="45720" rIns="91440" bIns="45720" numCol="1" anchor="t" anchorCtr="0" compatLnSpc="1">
                <a:prstTxWarp prst="textNoShape">
                  <a:avLst/>
                </a:prstTxWarp>
                <a:noAutofit/>
              </a:bodyPr>
              <a:lstStyle/>
              <a:p>
                <a:pPr>
                  <a:defRPr/>
                </a:pPr>
                <a:endParaRPr kumimoji="0" lang="en-US" dirty="0">
                  <a:solidFill>
                    <a:srgbClr val="000000"/>
                  </a:solidFill>
                  <a:latin typeface="Trebuchet MS"/>
                  <a:ea typeface="Meiryo UI"/>
                </a:endParaRPr>
              </a:p>
            </p:txBody>
          </p:sp>
          <p:sp>
            <p:nvSpPr>
              <p:cNvPr id="394" name="Freeform 393"/>
              <p:cNvSpPr>
                <a:spLocks/>
              </p:cNvSpPr>
              <p:nvPr/>
            </p:nvSpPr>
            <p:spPr bwMode="auto">
              <a:xfrm>
                <a:off x="7292978" y="4965211"/>
                <a:ext cx="280097" cy="326683"/>
              </a:xfrm>
              <a:custGeom>
                <a:avLst/>
                <a:gdLst>
                  <a:gd name="connsiteX0" fmla="*/ 1182870 w 4619625"/>
                  <a:gd name="connsiteY0" fmla="*/ 2290808 h 5387975"/>
                  <a:gd name="connsiteX1" fmla="*/ 1169987 w 4619625"/>
                  <a:gd name="connsiteY1" fmla="*/ 2301878 h 5387975"/>
                  <a:gd name="connsiteX2" fmla="*/ 559792 w 4619625"/>
                  <a:gd name="connsiteY2" fmla="*/ 3415237 h 5387975"/>
                  <a:gd name="connsiteX3" fmla="*/ 589558 w 4619625"/>
                  <a:gd name="connsiteY3" fmla="*/ 3453936 h 5387975"/>
                  <a:gd name="connsiteX4" fmla="*/ 952698 w 4619625"/>
                  <a:gd name="connsiteY4" fmla="*/ 3358676 h 5387975"/>
                  <a:gd name="connsiteX5" fmla="*/ 985440 w 4619625"/>
                  <a:gd name="connsiteY5" fmla="*/ 3388444 h 5387975"/>
                  <a:gd name="connsiteX6" fmla="*/ 881261 w 4619625"/>
                  <a:gd name="connsiteY6" fmla="*/ 4025500 h 5387975"/>
                  <a:gd name="connsiteX7" fmla="*/ 928886 w 4619625"/>
                  <a:gd name="connsiteY7" fmla="*/ 4040384 h 5387975"/>
                  <a:gd name="connsiteX8" fmla="*/ 1539081 w 4619625"/>
                  <a:gd name="connsiteY8" fmla="*/ 2927026 h 5387975"/>
                  <a:gd name="connsiteX9" fmla="*/ 1506339 w 4619625"/>
                  <a:gd name="connsiteY9" fmla="*/ 2888326 h 5387975"/>
                  <a:gd name="connsiteX10" fmla="*/ 1149151 w 4619625"/>
                  <a:gd name="connsiteY10" fmla="*/ 2986564 h 5387975"/>
                  <a:gd name="connsiteX11" fmla="*/ 1113433 w 4619625"/>
                  <a:gd name="connsiteY11" fmla="*/ 2956795 h 5387975"/>
                  <a:gd name="connsiteX12" fmla="*/ 1217612 w 4619625"/>
                  <a:gd name="connsiteY12" fmla="*/ 2316763 h 5387975"/>
                  <a:gd name="connsiteX13" fmla="*/ 1182870 w 4619625"/>
                  <a:gd name="connsiteY13" fmla="*/ 2290808 h 5387975"/>
                  <a:gd name="connsiteX14" fmla="*/ 2982912 w 4619625"/>
                  <a:gd name="connsiteY14" fmla="*/ 1152525 h 5387975"/>
                  <a:gd name="connsiteX15" fmla="*/ 4619625 w 4619625"/>
                  <a:gd name="connsiteY15" fmla="*/ 1152525 h 5387975"/>
                  <a:gd name="connsiteX16" fmla="*/ 4619625 w 4619625"/>
                  <a:gd name="connsiteY16" fmla="*/ 1381807 h 5387975"/>
                  <a:gd name="connsiteX17" fmla="*/ 3798293 w 4619625"/>
                  <a:gd name="connsiteY17" fmla="*/ 2206625 h 5387975"/>
                  <a:gd name="connsiteX18" fmla="*/ 2982912 w 4619625"/>
                  <a:gd name="connsiteY18" fmla="*/ 1381807 h 5387975"/>
                  <a:gd name="connsiteX19" fmla="*/ 2982912 w 4619625"/>
                  <a:gd name="connsiteY19" fmla="*/ 1152525 h 5387975"/>
                  <a:gd name="connsiteX20" fmla="*/ 1127820 w 4619625"/>
                  <a:gd name="connsiteY20" fmla="*/ 295275 h 5387975"/>
                  <a:gd name="connsiteX21" fmla="*/ 496561 w 4619625"/>
                  <a:gd name="connsiteY21" fmla="*/ 298252 h 5387975"/>
                  <a:gd name="connsiteX22" fmla="*/ 305992 w 4619625"/>
                  <a:gd name="connsiteY22" fmla="*/ 479822 h 5387975"/>
                  <a:gd name="connsiteX23" fmla="*/ 300037 w 4619625"/>
                  <a:gd name="connsiteY23" fmla="*/ 1542455 h 5387975"/>
                  <a:gd name="connsiteX24" fmla="*/ 484651 w 4619625"/>
                  <a:gd name="connsiteY24" fmla="*/ 1724025 h 5387975"/>
                  <a:gd name="connsiteX25" fmla="*/ 1765034 w 4619625"/>
                  <a:gd name="connsiteY25" fmla="*/ 1718072 h 5387975"/>
                  <a:gd name="connsiteX26" fmla="*/ 1952625 w 4619625"/>
                  <a:gd name="connsiteY26" fmla="*/ 1530549 h 5387975"/>
                  <a:gd name="connsiteX27" fmla="*/ 1952625 w 4619625"/>
                  <a:gd name="connsiteY27" fmla="*/ 482799 h 5387975"/>
                  <a:gd name="connsiteX28" fmla="*/ 1762056 w 4619625"/>
                  <a:gd name="connsiteY28" fmla="*/ 298252 h 5387975"/>
                  <a:gd name="connsiteX29" fmla="*/ 1127820 w 4619625"/>
                  <a:gd name="connsiteY29" fmla="*/ 295275 h 5387975"/>
                  <a:gd name="connsiteX30" fmla="*/ 434693 w 4619625"/>
                  <a:gd name="connsiteY30" fmla="*/ 0 h 5387975"/>
                  <a:gd name="connsiteX31" fmla="*/ 1813207 w 4619625"/>
                  <a:gd name="connsiteY31" fmla="*/ 0 h 5387975"/>
                  <a:gd name="connsiteX32" fmla="*/ 2247900 w 4619625"/>
                  <a:gd name="connsiteY32" fmla="*/ 434610 h 5387975"/>
                  <a:gd name="connsiteX33" fmla="*/ 2247900 w 4619625"/>
                  <a:gd name="connsiteY33" fmla="*/ 5387975 h 5387975"/>
                  <a:gd name="connsiteX34" fmla="*/ 0 w 4619625"/>
                  <a:gd name="connsiteY34" fmla="*/ 5387975 h 5387975"/>
                  <a:gd name="connsiteX35" fmla="*/ 0 w 4619625"/>
                  <a:gd name="connsiteY35" fmla="*/ 434610 h 5387975"/>
                  <a:gd name="connsiteX36" fmla="*/ 434693 w 4619625"/>
                  <a:gd name="connsiteY36" fmla="*/ 0 h 5387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619625" h="5387975">
                    <a:moveTo>
                      <a:pt x="1182870" y="2290808"/>
                    </a:moveTo>
                    <a:cubicBezTo>
                      <a:pt x="1177615" y="2292390"/>
                      <a:pt x="1172964" y="2295925"/>
                      <a:pt x="1169987" y="2301878"/>
                    </a:cubicBezTo>
                    <a:cubicBezTo>
                      <a:pt x="559792" y="3415237"/>
                      <a:pt x="559792" y="3415237"/>
                      <a:pt x="559792" y="3415237"/>
                    </a:cubicBezTo>
                    <a:cubicBezTo>
                      <a:pt x="550862" y="3439052"/>
                      <a:pt x="568722" y="3459890"/>
                      <a:pt x="589558" y="3453936"/>
                    </a:cubicBezTo>
                    <a:cubicBezTo>
                      <a:pt x="952698" y="3358676"/>
                      <a:pt x="952698" y="3358676"/>
                      <a:pt x="952698" y="3358676"/>
                    </a:cubicBezTo>
                    <a:cubicBezTo>
                      <a:pt x="970558" y="3349745"/>
                      <a:pt x="988417" y="3367606"/>
                      <a:pt x="985440" y="3388444"/>
                    </a:cubicBezTo>
                    <a:cubicBezTo>
                      <a:pt x="881261" y="4025500"/>
                      <a:pt x="881261" y="4025500"/>
                      <a:pt x="881261" y="4025500"/>
                    </a:cubicBezTo>
                    <a:cubicBezTo>
                      <a:pt x="875308" y="4052292"/>
                      <a:pt x="914003" y="4067176"/>
                      <a:pt x="928886" y="4040384"/>
                    </a:cubicBezTo>
                    <a:cubicBezTo>
                      <a:pt x="1539081" y="2927026"/>
                      <a:pt x="1539081" y="2927026"/>
                      <a:pt x="1539081" y="2927026"/>
                    </a:cubicBezTo>
                    <a:cubicBezTo>
                      <a:pt x="1550987" y="2903211"/>
                      <a:pt x="1533128" y="2882373"/>
                      <a:pt x="1506339" y="2888326"/>
                    </a:cubicBezTo>
                    <a:cubicBezTo>
                      <a:pt x="1149151" y="2986564"/>
                      <a:pt x="1149151" y="2986564"/>
                      <a:pt x="1149151" y="2986564"/>
                    </a:cubicBezTo>
                    <a:cubicBezTo>
                      <a:pt x="1128315" y="2992518"/>
                      <a:pt x="1110456" y="2977633"/>
                      <a:pt x="1113433" y="2956795"/>
                    </a:cubicBezTo>
                    <a:cubicBezTo>
                      <a:pt x="1217612" y="2316763"/>
                      <a:pt x="1217612" y="2316763"/>
                      <a:pt x="1217612" y="2316763"/>
                    </a:cubicBezTo>
                    <a:cubicBezTo>
                      <a:pt x="1219845" y="2298901"/>
                      <a:pt x="1198637" y="2286064"/>
                      <a:pt x="1182870" y="2290808"/>
                    </a:cubicBezTo>
                    <a:close/>
                    <a:moveTo>
                      <a:pt x="2982912" y="1152525"/>
                    </a:moveTo>
                    <a:cubicBezTo>
                      <a:pt x="4619625" y="1152525"/>
                      <a:pt x="4619625" y="1152525"/>
                      <a:pt x="4619625" y="1152525"/>
                    </a:cubicBezTo>
                    <a:cubicBezTo>
                      <a:pt x="4619625" y="1381807"/>
                      <a:pt x="4619625" y="1381807"/>
                      <a:pt x="4619625" y="1381807"/>
                    </a:cubicBezTo>
                    <a:cubicBezTo>
                      <a:pt x="4619625" y="1837392"/>
                      <a:pt x="4253597" y="2206625"/>
                      <a:pt x="3798293" y="2206625"/>
                    </a:cubicBezTo>
                    <a:cubicBezTo>
                      <a:pt x="3345965" y="2206625"/>
                      <a:pt x="2982912" y="1837392"/>
                      <a:pt x="2982912" y="1381807"/>
                    </a:cubicBezTo>
                    <a:cubicBezTo>
                      <a:pt x="2982912" y="1152525"/>
                      <a:pt x="2982912" y="1152525"/>
                      <a:pt x="2982912" y="1152525"/>
                    </a:cubicBezTo>
                    <a:close/>
                    <a:moveTo>
                      <a:pt x="1127820" y="295275"/>
                    </a:moveTo>
                    <a:cubicBezTo>
                      <a:pt x="919386" y="295275"/>
                      <a:pt x="707973" y="295275"/>
                      <a:pt x="496561" y="298252"/>
                    </a:cubicBezTo>
                    <a:cubicBezTo>
                      <a:pt x="353635" y="298252"/>
                      <a:pt x="305992" y="342900"/>
                      <a:pt x="305992" y="479822"/>
                    </a:cubicBezTo>
                    <a:cubicBezTo>
                      <a:pt x="300037" y="834033"/>
                      <a:pt x="305992" y="1188244"/>
                      <a:pt x="300037" y="1542455"/>
                    </a:cubicBezTo>
                    <a:cubicBezTo>
                      <a:pt x="300037" y="1667470"/>
                      <a:pt x="365545" y="1724025"/>
                      <a:pt x="484651" y="1724025"/>
                    </a:cubicBezTo>
                    <a:cubicBezTo>
                      <a:pt x="910453" y="1724025"/>
                      <a:pt x="1339232" y="1724025"/>
                      <a:pt x="1765034" y="1718072"/>
                    </a:cubicBezTo>
                    <a:cubicBezTo>
                      <a:pt x="1902005" y="1718072"/>
                      <a:pt x="1952625" y="1670447"/>
                      <a:pt x="1952625" y="1530549"/>
                    </a:cubicBezTo>
                    <a:cubicBezTo>
                      <a:pt x="1952625" y="1185267"/>
                      <a:pt x="1952625" y="834033"/>
                      <a:pt x="1952625" y="482799"/>
                    </a:cubicBezTo>
                    <a:cubicBezTo>
                      <a:pt x="1952625" y="345877"/>
                      <a:pt x="1902005" y="298252"/>
                      <a:pt x="1762056" y="298252"/>
                    </a:cubicBezTo>
                    <a:cubicBezTo>
                      <a:pt x="1550644" y="295275"/>
                      <a:pt x="1339232" y="295275"/>
                      <a:pt x="1127820" y="295275"/>
                    </a:cubicBezTo>
                    <a:close/>
                    <a:moveTo>
                      <a:pt x="434693" y="0"/>
                    </a:moveTo>
                    <a:cubicBezTo>
                      <a:pt x="434693" y="0"/>
                      <a:pt x="434693" y="0"/>
                      <a:pt x="1813207" y="0"/>
                    </a:cubicBezTo>
                    <a:cubicBezTo>
                      <a:pt x="2054372" y="0"/>
                      <a:pt x="2247900" y="196468"/>
                      <a:pt x="2247900" y="434610"/>
                    </a:cubicBezTo>
                    <a:cubicBezTo>
                      <a:pt x="2247900" y="434610"/>
                      <a:pt x="2247900" y="434610"/>
                      <a:pt x="2247900" y="5387975"/>
                    </a:cubicBezTo>
                    <a:cubicBezTo>
                      <a:pt x="2247900" y="5387975"/>
                      <a:pt x="2247900" y="5387975"/>
                      <a:pt x="0" y="5387975"/>
                    </a:cubicBezTo>
                    <a:cubicBezTo>
                      <a:pt x="0" y="5387975"/>
                      <a:pt x="0" y="5387975"/>
                      <a:pt x="0" y="434610"/>
                    </a:cubicBezTo>
                    <a:cubicBezTo>
                      <a:pt x="0" y="196468"/>
                      <a:pt x="193528" y="0"/>
                      <a:pt x="434693" y="0"/>
                    </a:cubicBezTo>
                    <a:close/>
                  </a:path>
                </a:pathLst>
              </a:custGeom>
              <a:solidFill>
                <a:srgbClr val="92D050"/>
              </a:solidFill>
              <a:ln>
                <a:noFill/>
              </a:ln>
            </p:spPr>
            <p:txBody>
              <a:bodyPr vert="horz" wrap="square" lIns="91440" tIns="45720" rIns="91440" bIns="45720" numCol="1" anchor="t" anchorCtr="0" compatLnSpc="1">
                <a:prstTxWarp prst="textNoShape">
                  <a:avLst/>
                </a:prstTxWarp>
                <a:noAutofit/>
              </a:bodyPr>
              <a:lstStyle/>
              <a:p>
                <a:pPr>
                  <a:defRPr/>
                </a:pPr>
                <a:endParaRPr kumimoji="0" lang="en-US" dirty="0">
                  <a:solidFill>
                    <a:srgbClr val="000000"/>
                  </a:solidFill>
                  <a:latin typeface="Trebuchet MS"/>
                  <a:ea typeface="Meiryo UI"/>
                </a:endParaRPr>
              </a:p>
            </p:txBody>
          </p:sp>
        </p:grpSp>
      </p:grpSp>
      <p:grpSp>
        <p:nvGrpSpPr>
          <p:cNvPr id="169" name="グループ化 168"/>
          <p:cNvGrpSpPr/>
          <p:nvPr/>
        </p:nvGrpSpPr>
        <p:grpSpPr>
          <a:xfrm>
            <a:off x="6290902" y="2289115"/>
            <a:ext cx="871700" cy="1200729"/>
            <a:chOff x="6262554" y="2296556"/>
            <a:chExt cx="669409" cy="922081"/>
          </a:xfrm>
        </p:grpSpPr>
        <p:grpSp>
          <p:nvGrpSpPr>
            <p:cNvPr id="161" name="グループ化 160"/>
            <p:cNvGrpSpPr/>
            <p:nvPr/>
          </p:nvGrpSpPr>
          <p:grpSpPr>
            <a:xfrm>
              <a:off x="6262554" y="2296556"/>
              <a:ext cx="669409" cy="922081"/>
              <a:chOff x="6286721" y="2296556"/>
              <a:chExt cx="669409" cy="922081"/>
            </a:xfrm>
            <a:effectLst>
              <a:glow rad="63500">
                <a:schemeClr val="bg1"/>
              </a:glow>
            </a:effectLst>
          </p:grpSpPr>
          <p:sp>
            <p:nvSpPr>
              <p:cNvPr id="311" name="Oval 310"/>
              <p:cNvSpPr/>
              <p:nvPr/>
            </p:nvSpPr>
            <p:spPr>
              <a:xfrm>
                <a:off x="6286721" y="2296556"/>
                <a:ext cx="669409" cy="669409"/>
              </a:xfrm>
              <a:prstGeom prst="ellipse">
                <a:avLst/>
              </a:prstGeom>
              <a:noFill/>
              <a:ln w="76200">
                <a:solidFill>
                  <a:srgbClr val="EB971D"/>
                </a:solidFill>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defRPr/>
                </a:pPr>
                <a:endParaRPr lang="en-US" sz="1400" dirty="0">
                  <a:solidFill>
                    <a:srgbClr val="000000"/>
                  </a:solidFill>
                  <a:latin typeface="Trebuchet MS"/>
                  <a:ea typeface="Meiryo UI"/>
                  <a:cs typeface="Arial" pitchFamily="34" charset="0"/>
                </a:endParaRPr>
              </a:p>
            </p:txBody>
          </p:sp>
          <p:sp>
            <p:nvSpPr>
              <p:cNvPr id="62" name="二等辺三角形 61"/>
              <p:cNvSpPr/>
              <p:nvPr/>
            </p:nvSpPr>
            <p:spPr>
              <a:xfrm flipV="1">
                <a:off x="6575799" y="2965963"/>
                <a:ext cx="125771" cy="252674"/>
              </a:xfrm>
              <a:prstGeom prst="triangle">
                <a:avLst/>
              </a:prstGeom>
              <a:solidFill>
                <a:srgbClr val="EB97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307" name="Picture 306"/>
            <p:cNvPicPr>
              <a:picLocks noChangeAspect="1"/>
            </p:cNvPicPr>
            <p:nvPr/>
          </p:nvPicPr>
          <p:blipFill rotWithShape="1">
            <a:blip r:embed="rId52"/>
            <a:srcRect l="7775" t="2364" r="1241" b="11342"/>
            <a:stretch/>
          </p:blipFill>
          <p:spPr>
            <a:xfrm>
              <a:off x="6289127" y="2322446"/>
              <a:ext cx="630336" cy="630337"/>
            </a:xfrm>
            <a:prstGeom prst="ellipse">
              <a:avLst/>
            </a:prstGeom>
            <a:solidFill>
              <a:schemeClr val="bg1">
                <a:lumMod val="95000"/>
              </a:schemeClr>
            </a:solidFill>
            <a:ln w="28575" cap="flat" cmpd="sng" algn="ctr">
              <a:noFill/>
              <a:prstDash val="solid"/>
              <a:miter lim="800000"/>
              <a:headEnd type="none" w="med" len="med"/>
              <a:tailEnd type="none" w="med" len="med"/>
            </a:ln>
            <a:effectLst/>
            <a:extLst>
              <a:ext uri="{91240B29-F687-4F45-9708-019B960494DF}">
                <a14:hiddenLine xmlns:a14="http://schemas.microsoft.com/office/drawing/2010/main" w="28575" cap="flat" cmpd="sng" algn="ctr">
                  <a:solidFill>
                    <a:srgbClr val="BE569E"/>
                  </a:solidFill>
                  <a:prstDash val="solid"/>
                  <a:miter lim="800000"/>
                  <a:headEnd type="none" w="med" len="med"/>
                  <a:tailEnd type="none" w="med" len="med"/>
                </a14:hiddenLine>
              </a:ext>
            </a:extLst>
          </p:spPr>
        </p:pic>
      </p:grpSp>
      <p:grpSp>
        <p:nvGrpSpPr>
          <p:cNvPr id="179" name="グループ化 178"/>
          <p:cNvGrpSpPr/>
          <p:nvPr/>
        </p:nvGrpSpPr>
        <p:grpSpPr>
          <a:xfrm>
            <a:off x="8730184" y="3844886"/>
            <a:ext cx="1389737" cy="893817"/>
            <a:chOff x="8560457" y="3724460"/>
            <a:chExt cx="1067227" cy="686393"/>
          </a:xfrm>
        </p:grpSpPr>
        <p:sp>
          <p:nvSpPr>
            <p:cNvPr id="47" name="円/楕円 46"/>
            <p:cNvSpPr/>
            <p:nvPr/>
          </p:nvSpPr>
          <p:spPr>
            <a:xfrm>
              <a:off x="8939887" y="3724460"/>
              <a:ext cx="686393" cy="6863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71" name="グループ化 170"/>
            <p:cNvGrpSpPr/>
            <p:nvPr/>
          </p:nvGrpSpPr>
          <p:grpSpPr>
            <a:xfrm>
              <a:off x="8560457" y="3729212"/>
              <a:ext cx="1067227" cy="669409"/>
              <a:chOff x="8560457" y="3729212"/>
              <a:chExt cx="1067227" cy="669409"/>
            </a:xfrm>
          </p:grpSpPr>
          <p:grpSp>
            <p:nvGrpSpPr>
              <p:cNvPr id="30" name="Group 29"/>
              <p:cNvGrpSpPr/>
              <p:nvPr/>
            </p:nvGrpSpPr>
            <p:grpSpPr>
              <a:xfrm>
                <a:off x="8560457" y="3729212"/>
                <a:ext cx="1067227" cy="669409"/>
                <a:chOff x="6823168" y="3888175"/>
                <a:chExt cx="1067227" cy="669409"/>
              </a:xfrm>
              <a:effectLst>
                <a:glow rad="63500">
                  <a:schemeClr val="bg1"/>
                </a:glow>
              </a:effectLst>
            </p:grpSpPr>
            <p:sp>
              <p:nvSpPr>
                <p:cNvPr id="321" name="Isosceles Triangle 320"/>
                <p:cNvSpPr/>
                <p:nvPr/>
              </p:nvSpPr>
              <p:spPr>
                <a:xfrm rot="15224561">
                  <a:off x="6948899" y="4169566"/>
                  <a:ext cx="135888" cy="387350"/>
                </a:xfrm>
                <a:prstGeom prst="triangle">
                  <a:avLst>
                    <a:gd name="adj" fmla="val 97314"/>
                  </a:avLst>
                </a:prstGeom>
                <a:solidFill>
                  <a:srgbClr val="5E82F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defRPr/>
                  </a:pPr>
                  <a:endParaRPr lang="en-US" sz="1400" dirty="0">
                    <a:solidFill>
                      <a:srgbClr val="000000"/>
                    </a:solidFill>
                    <a:latin typeface="Trebuchet MS"/>
                    <a:ea typeface="Meiryo UI"/>
                    <a:cs typeface="Arial" pitchFamily="34" charset="0"/>
                  </a:endParaRPr>
                </a:p>
              </p:txBody>
            </p:sp>
            <p:sp>
              <p:nvSpPr>
                <p:cNvPr id="326" name="Oval 325"/>
                <p:cNvSpPr/>
                <p:nvPr/>
              </p:nvSpPr>
              <p:spPr>
                <a:xfrm>
                  <a:off x="7202598" y="3888175"/>
                  <a:ext cx="687797" cy="669409"/>
                </a:xfrm>
                <a:prstGeom prst="ellipse">
                  <a:avLst/>
                </a:prstGeom>
                <a:noFill/>
                <a:ln w="76200">
                  <a:solidFill>
                    <a:srgbClr val="5E82F4"/>
                  </a:solidFill>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defRPr/>
                  </a:pPr>
                  <a:endParaRPr lang="en-US" sz="1400" dirty="0">
                    <a:solidFill>
                      <a:srgbClr val="000000"/>
                    </a:solidFill>
                    <a:latin typeface="Trebuchet MS"/>
                    <a:ea typeface="Meiryo UI"/>
                    <a:cs typeface="Arial" pitchFamily="34" charset="0"/>
                  </a:endParaRPr>
                </a:p>
              </p:txBody>
            </p:sp>
          </p:grpSp>
          <p:pic>
            <p:nvPicPr>
              <p:cNvPr id="60" name="図 59"/>
              <p:cNvPicPr>
                <a:picLocks noChangeAspect="1"/>
              </p:cNvPicPr>
              <p:nvPr/>
            </p:nvPicPr>
            <p:blipFill rotWithShape="1">
              <a:blip r:embed="rId53" cstate="print">
                <a:extLst>
                  <a:ext uri="{28A0092B-C50C-407E-A947-70E740481C1C}">
                    <a14:useLocalDpi xmlns:a14="http://schemas.microsoft.com/office/drawing/2010/main" val="0"/>
                  </a:ext>
                </a:extLst>
              </a:blip>
              <a:srcRect/>
              <a:stretch/>
            </p:blipFill>
            <p:spPr>
              <a:xfrm>
                <a:off x="8968932" y="3769071"/>
                <a:ext cx="617886" cy="595050"/>
              </a:xfrm>
              <a:prstGeom prst="ellipse">
                <a:avLst/>
              </a:prstGeom>
            </p:spPr>
          </p:pic>
        </p:grpSp>
      </p:grpSp>
      <p:grpSp>
        <p:nvGrpSpPr>
          <p:cNvPr id="168" name="グループ化 167"/>
          <p:cNvGrpSpPr/>
          <p:nvPr/>
        </p:nvGrpSpPr>
        <p:grpSpPr>
          <a:xfrm>
            <a:off x="5043659" y="2268921"/>
            <a:ext cx="871700" cy="1236298"/>
            <a:chOff x="5222216" y="2262651"/>
            <a:chExt cx="669409" cy="949396"/>
          </a:xfrm>
        </p:grpSpPr>
        <p:sp>
          <p:nvSpPr>
            <p:cNvPr id="299" name="Rectangle 190"/>
            <p:cNvSpPr/>
            <p:nvPr/>
          </p:nvSpPr>
          <p:spPr bwMode="auto">
            <a:xfrm>
              <a:off x="5379734" y="2696478"/>
              <a:ext cx="141412" cy="113596"/>
            </a:xfrm>
            <a:prstGeom prst="rect">
              <a:avLst/>
            </a:prstGeom>
            <a:noFill/>
            <a:ln w="9525" algn="ctr">
              <a:noFill/>
              <a:miter lim="800000"/>
              <a:headEnd/>
              <a:tailEnd/>
            </a:ln>
            <a:scene3d>
              <a:camera prst="isometricRightUp"/>
              <a:lightRig rig="threePt" dir="t"/>
            </a:scene3d>
            <a:extLst>
              <a:ext uri="{909E8E84-426E-40DD-AFC4-6F175D3DCCD1}">
                <a14:hiddenFill xmlns:a14="http://schemas.microsoft.com/office/drawing/2010/main">
                  <a:solidFill>
                    <a:srgbClr val="72C95A"/>
                  </a:solidFill>
                </a14:hiddenFill>
              </a:ext>
            </a:extLst>
          </p:spPr>
          <p:txBody>
            <a:bodyPr wrap="none" lIns="36000" tIns="10800" rIns="36000" bIns="10800" rtlCol="0" anchor="ctr"/>
            <a:lstStyle/>
            <a:p>
              <a:pPr marL="185738" indent="-185738" algn="ctr">
                <a:buClr>
                  <a:srgbClr val="969696"/>
                </a:buClr>
                <a:buSzPct val="80000"/>
                <a:defRPr/>
              </a:pPr>
              <a:r>
                <a:rPr kumimoji="0" lang="en-US" sz="300" b="1" dirty="0">
                  <a:solidFill>
                    <a:srgbClr val="FFFFFF"/>
                  </a:solidFill>
                  <a:latin typeface="Meiryo UI"/>
                  <a:ea typeface="Meiryo UI"/>
                </a:rPr>
                <a:t>e-Gov.</a:t>
              </a:r>
            </a:p>
          </p:txBody>
        </p:sp>
        <p:grpSp>
          <p:nvGrpSpPr>
            <p:cNvPr id="162" name="グループ化 161"/>
            <p:cNvGrpSpPr/>
            <p:nvPr/>
          </p:nvGrpSpPr>
          <p:grpSpPr>
            <a:xfrm>
              <a:off x="5222216" y="2262651"/>
              <a:ext cx="669409" cy="949396"/>
              <a:chOff x="5222216" y="2262651"/>
              <a:chExt cx="669409" cy="949396"/>
            </a:xfrm>
            <a:effectLst>
              <a:glow rad="63500">
                <a:schemeClr val="bg1"/>
              </a:glow>
            </a:effectLst>
          </p:grpSpPr>
          <p:sp>
            <p:nvSpPr>
              <p:cNvPr id="23" name="Oval 22"/>
              <p:cNvSpPr/>
              <p:nvPr/>
            </p:nvSpPr>
            <p:spPr>
              <a:xfrm>
                <a:off x="5222216" y="2262651"/>
                <a:ext cx="669409" cy="669409"/>
              </a:xfrm>
              <a:prstGeom prst="ellipse">
                <a:avLst/>
              </a:prstGeom>
              <a:noFill/>
              <a:ln w="76200">
                <a:solidFill>
                  <a:srgbClr val="EB971D"/>
                </a:solidFill>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defRPr/>
                </a:pPr>
                <a:endParaRPr lang="en-US" sz="1400" dirty="0">
                  <a:solidFill>
                    <a:srgbClr val="000000"/>
                  </a:solidFill>
                  <a:latin typeface="Trebuchet MS"/>
                  <a:ea typeface="Meiryo UI"/>
                  <a:cs typeface="Arial" pitchFamily="34" charset="0"/>
                </a:endParaRPr>
              </a:p>
            </p:txBody>
          </p:sp>
          <p:sp>
            <p:nvSpPr>
              <p:cNvPr id="276" name="Isosceles Triangle 275"/>
              <p:cNvSpPr/>
              <p:nvPr/>
            </p:nvSpPr>
            <p:spPr>
              <a:xfrm rot="10800000" flipH="1">
                <a:off x="5424577" y="2944001"/>
                <a:ext cx="146176" cy="268046"/>
              </a:xfrm>
              <a:prstGeom prst="triangle">
                <a:avLst>
                  <a:gd name="adj" fmla="val 97314"/>
                </a:avLst>
              </a:prstGeom>
              <a:solidFill>
                <a:srgbClr val="EB971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defRPr/>
                </a:pPr>
                <a:endParaRPr lang="en-US" sz="1400" dirty="0">
                  <a:solidFill>
                    <a:srgbClr val="000000"/>
                  </a:solidFill>
                  <a:latin typeface="Trebuchet MS"/>
                  <a:ea typeface="Meiryo UI"/>
                  <a:cs typeface="Arial" pitchFamily="34" charset="0"/>
                </a:endParaRPr>
              </a:p>
            </p:txBody>
          </p:sp>
        </p:grpSp>
        <p:pic>
          <p:nvPicPr>
            <p:cNvPr id="298" name="Picture 297"/>
            <p:cNvPicPr>
              <a:picLocks noChangeAspect="1"/>
            </p:cNvPicPr>
            <p:nvPr/>
          </p:nvPicPr>
          <p:blipFill rotWithShape="1">
            <a:blip r:embed="rId54"/>
            <a:srcRect t="2930" b="2930"/>
            <a:stretch/>
          </p:blipFill>
          <p:spPr>
            <a:xfrm>
              <a:off x="5252332" y="2292768"/>
              <a:ext cx="609178" cy="609176"/>
            </a:xfrm>
            <a:prstGeom prst="ellipse">
              <a:avLst/>
            </a:prstGeom>
            <a:solidFill>
              <a:schemeClr val="bg1">
                <a:lumMod val="95000"/>
              </a:schemeClr>
            </a:solidFill>
            <a:ln w="28575" cap="flat" cmpd="sng" algn="ctr">
              <a:noFill/>
              <a:prstDash val="solid"/>
              <a:miter lim="800000"/>
              <a:headEnd type="none" w="med" len="med"/>
              <a:tailEnd type="none" w="med" len="med"/>
            </a:ln>
            <a:extLst>
              <a:ext uri="{91240B29-F687-4F45-9708-019B960494DF}">
                <a14:hiddenLine xmlns:a14="http://schemas.microsoft.com/office/drawing/2010/main" w="28575" cap="flat" cmpd="sng" algn="ctr">
                  <a:solidFill>
                    <a:srgbClr val="1EAE95"/>
                  </a:solidFill>
                  <a:prstDash val="solid"/>
                  <a:miter lim="800000"/>
                  <a:headEnd type="none" w="med" len="med"/>
                  <a:tailEnd type="none" w="med" len="med"/>
                </a14:hiddenLine>
              </a:ext>
            </a:extLst>
          </p:spPr>
        </p:pic>
      </p:grpSp>
      <p:grpSp>
        <p:nvGrpSpPr>
          <p:cNvPr id="167" name="グループ化 166"/>
          <p:cNvGrpSpPr/>
          <p:nvPr/>
        </p:nvGrpSpPr>
        <p:grpSpPr>
          <a:xfrm>
            <a:off x="2602746" y="3164945"/>
            <a:ext cx="1308955" cy="871700"/>
            <a:chOff x="2905654" y="3266400"/>
            <a:chExt cx="1005192" cy="669409"/>
          </a:xfrm>
        </p:grpSpPr>
        <p:grpSp>
          <p:nvGrpSpPr>
            <p:cNvPr id="164" name="グループ化 163"/>
            <p:cNvGrpSpPr/>
            <p:nvPr/>
          </p:nvGrpSpPr>
          <p:grpSpPr>
            <a:xfrm>
              <a:off x="2905654" y="3266400"/>
              <a:ext cx="1005192" cy="669409"/>
              <a:chOff x="2905654" y="3266400"/>
              <a:chExt cx="1005192" cy="669409"/>
            </a:xfrm>
            <a:effectLst>
              <a:glow rad="50800">
                <a:schemeClr val="bg1"/>
              </a:glow>
            </a:effectLst>
          </p:grpSpPr>
          <p:sp>
            <p:nvSpPr>
              <p:cNvPr id="302" name="Isosceles Triangle 301"/>
              <p:cNvSpPr/>
              <p:nvPr/>
            </p:nvSpPr>
            <p:spPr>
              <a:xfrm rot="6676264" flipH="1">
                <a:off x="3623443" y="3485982"/>
                <a:ext cx="187455" cy="387350"/>
              </a:xfrm>
              <a:prstGeom prst="triangle">
                <a:avLst>
                  <a:gd name="adj" fmla="val 0"/>
                </a:avLst>
              </a:prstGeom>
              <a:solidFill>
                <a:srgbClr val="EB971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defRPr/>
                </a:pPr>
                <a:endParaRPr lang="en-US" sz="1400" dirty="0">
                  <a:solidFill>
                    <a:srgbClr val="000000"/>
                  </a:solidFill>
                  <a:latin typeface="Trebuchet MS"/>
                  <a:ea typeface="Meiryo UI"/>
                  <a:cs typeface="Arial" pitchFamily="34" charset="0"/>
                </a:endParaRPr>
              </a:p>
            </p:txBody>
          </p:sp>
          <p:sp>
            <p:nvSpPr>
              <p:cNvPr id="303" name="Oval 302"/>
              <p:cNvSpPr/>
              <p:nvPr/>
            </p:nvSpPr>
            <p:spPr>
              <a:xfrm>
                <a:off x="2905654" y="3266400"/>
                <a:ext cx="669409" cy="669409"/>
              </a:xfrm>
              <a:prstGeom prst="ellipse">
                <a:avLst/>
              </a:prstGeom>
              <a:noFill/>
              <a:ln w="76200">
                <a:solidFill>
                  <a:srgbClr val="EB971D"/>
                </a:solidFill>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defRPr/>
                </a:pPr>
                <a:endParaRPr lang="en-US" sz="1400" dirty="0">
                  <a:solidFill>
                    <a:srgbClr val="000000"/>
                  </a:solidFill>
                  <a:latin typeface="Trebuchet MS"/>
                  <a:ea typeface="Meiryo UI"/>
                  <a:cs typeface="Arial" pitchFamily="34" charset="0"/>
                </a:endParaRPr>
              </a:p>
            </p:txBody>
          </p:sp>
        </p:grpSp>
        <p:pic>
          <p:nvPicPr>
            <p:cNvPr id="292" name="Picture 291"/>
            <p:cNvPicPr>
              <a:picLocks noChangeAspect="1"/>
            </p:cNvPicPr>
            <p:nvPr/>
          </p:nvPicPr>
          <p:blipFill rotWithShape="1">
            <a:blip r:embed="rId55"/>
            <a:srcRect l="1207" t="7127" r="13457" b="8148"/>
            <a:stretch/>
          </p:blipFill>
          <p:spPr>
            <a:xfrm>
              <a:off x="2938841" y="3307020"/>
              <a:ext cx="611650" cy="611650"/>
            </a:xfrm>
            <a:prstGeom prst="ellipse">
              <a:avLst/>
            </a:prstGeom>
            <a:noFill/>
            <a:ln w="19050" cap="flat" cmpd="sng" algn="ctr">
              <a:noFill/>
              <a:prstDash val="solid"/>
              <a:miter lim="800000"/>
              <a:headEnd type="none" w="med" len="med"/>
              <a:tailEnd type="none" w="med" len="med"/>
            </a:ln>
            <a:extLst>
              <a:ext uri="{91240B29-F687-4F45-9708-019B960494DF}">
                <a14:hiddenLine xmlns:a14="http://schemas.microsoft.com/office/drawing/2010/main" w="19050" cap="flat" cmpd="sng" algn="ctr">
                  <a:solidFill>
                    <a:srgbClr val="008FC8"/>
                  </a:solidFill>
                  <a:prstDash val="solid"/>
                  <a:miter lim="800000"/>
                  <a:headEnd type="none" w="med" len="med"/>
                  <a:tailEnd type="none" w="med" len="med"/>
                </a14:hiddenLine>
              </a:ext>
            </a:extLst>
          </p:spPr>
        </p:pic>
      </p:grpSp>
      <p:grpSp>
        <p:nvGrpSpPr>
          <p:cNvPr id="170" name="グループ化 169"/>
          <p:cNvGrpSpPr/>
          <p:nvPr/>
        </p:nvGrpSpPr>
        <p:grpSpPr>
          <a:xfrm>
            <a:off x="8379295" y="2952377"/>
            <a:ext cx="1112946" cy="871700"/>
            <a:chOff x="7929274" y="2989095"/>
            <a:chExt cx="854670" cy="669409"/>
          </a:xfrm>
        </p:grpSpPr>
        <p:grpSp>
          <p:nvGrpSpPr>
            <p:cNvPr id="63" name="グループ化 62"/>
            <p:cNvGrpSpPr/>
            <p:nvPr/>
          </p:nvGrpSpPr>
          <p:grpSpPr>
            <a:xfrm>
              <a:off x="7929274" y="2989095"/>
              <a:ext cx="854670" cy="669409"/>
              <a:chOff x="7929274" y="2989095"/>
              <a:chExt cx="854670" cy="669409"/>
            </a:xfrm>
            <a:effectLst>
              <a:glow rad="63500">
                <a:schemeClr val="bg1"/>
              </a:glow>
            </a:effectLst>
          </p:grpSpPr>
          <p:sp>
            <p:nvSpPr>
              <p:cNvPr id="295" name="Isosceles Triangle 294"/>
              <p:cNvSpPr/>
              <p:nvPr/>
            </p:nvSpPr>
            <p:spPr>
              <a:xfrm rot="15224561" flipH="1">
                <a:off x="7993644" y="3428126"/>
                <a:ext cx="145301" cy="274041"/>
              </a:xfrm>
              <a:prstGeom prst="triangle">
                <a:avLst>
                  <a:gd name="adj" fmla="val 97314"/>
                </a:avLst>
              </a:prstGeom>
              <a:solidFill>
                <a:srgbClr val="EB971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defRPr/>
                </a:pPr>
                <a:endParaRPr lang="en-US" sz="1400" dirty="0">
                  <a:solidFill>
                    <a:srgbClr val="000000"/>
                  </a:solidFill>
                  <a:latin typeface="Trebuchet MS"/>
                  <a:ea typeface="Meiryo UI"/>
                  <a:cs typeface="Arial" pitchFamily="34" charset="0"/>
                </a:endParaRPr>
              </a:p>
            </p:txBody>
          </p:sp>
          <p:sp>
            <p:nvSpPr>
              <p:cNvPr id="35" name="Oval 34"/>
              <p:cNvSpPr/>
              <p:nvPr/>
            </p:nvSpPr>
            <p:spPr>
              <a:xfrm>
                <a:off x="8096147" y="2989095"/>
                <a:ext cx="687797" cy="669409"/>
              </a:xfrm>
              <a:prstGeom prst="ellipse">
                <a:avLst/>
              </a:prstGeom>
              <a:solidFill>
                <a:schemeClr val="bg1"/>
              </a:solidFill>
              <a:ln w="76200">
                <a:solidFill>
                  <a:srgbClr val="EB971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defRPr/>
                </a:pPr>
                <a:endParaRPr lang="en-US" sz="1400" dirty="0">
                  <a:solidFill>
                    <a:srgbClr val="000000"/>
                  </a:solidFill>
                  <a:latin typeface="Trebuchet MS"/>
                  <a:ea typeface="Meiryo UI"/>
                  <a:cs typeface="Arial" pitchFamily="34" charset="0"/>
                </a:endParaRPr>
              </a:p>
            </p:txBody>
          </p:sp>
        </p:grpSp>
        <p:pic>
          <p:nvPicPr>
            <p:cNvPr id="240" name="Picture 239"/>
            <p:cNvPicPr>
              <a:picLocks noChangeAspect="1"/>
            </p:cNvPicPr>
            <p:nvPr/>
          </p:nvPicPr>
          <p:blipFill>
            <a:blip r:embed="rId56" cstate="print">
              <a:extLst>
                <a:ext uri="{28A0092B-C50C-407E-A947-70E740481C1C}">
                  <a14:useLocalDpi xmlns:a14="http://schemas.microsoft.com/office/drawing/2010/main" val="0"/>
                </a:ext>
              </a:extLst>
            </a:blip>
            <a:stretch>
              <a:fillRect/>
            </a:stretch>
          </p:blipFill>
          <p:spPr>
            <a:xfrm>
              <a:off x="8218919" y="3068968"/>
              <a:ext cx="423865" cy="506084"/>
            </a:xfrm>
            <a:prstGeom prst="rect">
              <a:avLst/>
            </a:prstGeom>
          </p:spPr>
        </p:pic>
      </p:grpSp>
    </p:spTree>
    <p:extLst>
      <p:ext uri="{BB962C8B-B14F-4D97-AF65-F5344CB8AC3E}">
        <p14:creationId xmlns:p14="http://schemas.microsoft.com/office/powerpoint/2010/main" val="64686233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Oval 289"/>
          <p:cNvSpPr/>
          <p:nvPr/>
        </p:nvSpPr>
        <p:spPr bwMode="gray">
          <a:xfrm flipH="1">
            <a:off x="3917730" y="2023285"/>
            <a:ext cx="1489791" cy="1174005"/>
          </a:xfrm>
          <a:prstGeom prst="roundRect">
            <a:avLst>
              <a:gd name="adj" fmla="val 8347"/>
            </a:avLst>
          </a:prstGeom>
          <a:solidFill>
            <a:schemeClr val="bg1"/>
          </a:solidFill>
          <a:ln w="28575">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pitchFamily="34" charset="0"/>
            </a:endParaRPr>
          </a:p>
        </p:txBody>
      </p:sp>
      <p:pic>
        <p:nvPicPr>
          <p:cNvPr id="43" name="図 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56656" y="2051870"/>
            <a:ext cx="1375595" cy="1086285"/>
          </a:xfrm>
          <a:prstGeom prst="rect">
            <a:avLst/>
          </a:prstGeom>
        </p:spPr>
      </p:pic>
      <p:sp>
        <p:nvSpPr>
          <p:cNvPr id="31" name="タイトル 1"/>
          <p:cNvSpPr>
            <a:spLocks noGrp="1"/>
          </p:cNvSpPr>
          <p:nvPr>
            <p:ph type="title"/>
          </p:nvPr>
        </p:nvSpPr>
        <p:spPr>
          <a:xfrm>
            <a:off x="675217" y="799685"/>
            <a:ext cx="3492255" cy="1080000"/>
          </a:xfrm>
          <a:solidFill>
            <a:srgbClr val="33328B"/>
          </a:solidFill>
          <a:effectLst>
            <a:outerShdw blurRad="50800" dist="38100" dir="2700000" algn="tl" rotWithShape="0">
              <a:prstClr val="black">
                <a:alpha val="40000"/>
              </a:prstClr>
            </a:outerShdw>
          </a:effectLst>
        </p:spPr>
        <p:txBody>
          <a:bodyPr>
            <a:normAutofit/>
          </a:bodyPr>
          <a:lstStyle/>
          <a:p>
            <a:pPr algn="ctr"/>
            <a:r>
              <a:rPr lang="ja-JP" altLang="en-US" sz="2800" b="1" dirty="0" smtClean="0">
                <a:solidFill>
                  <a:schemeClr val="bg1"/>
                </a:solidFill>
                <a:latin typeface="Meiryo UI" panose="020B0604030504040204" pitchFamily="50" charset="-128"/>
                <a:ea typeface="Meiryo UI" panose="020B0604030504040204" pitchFamily="50" charset="-128"/>
              </a:rPr>
              <a:t>顔認証システム</a:t>
            </a:r>
            <a:endParaRPr kumimoji="1" lang="ja-JP" altLang="en-US" sz="2800" b="1" dirty="0">
              <a:solidFill>
                <a:schemeClr val="bg1"/>
              </a:solidFill>
              <a:latin typeface="Meiryo UI" panose="020B0604030504040204" pitchFamily="50" charset="-128"/>
              <a:ea typeface="Meiryo UI" panose="020B0604030504040204" pitchFamily="50" charset="-128"/>
            </a:endParaRPr>
          </a:p>
        </p:txBody>
      </p:sp>
      <p:sp>
        <p:nvSpPr>
          <p:cNvPr id="42" name="タイトル 1"/>
          <p:cNvSpPr txBox="1">
            <a:spLocks/>
          </p:cNvSpPr>
          <p:nvPr/>
        </p:nvSpPr>
        <p:spPr>
          <a:xfrm>
            <a:off x="4159197" y="799685"/>
            <a:ext cx="7362762" cy="1080000"/>
          </a:xfrm>
          <a:prstGeom prst="rect">
            <a:avLst/>
          </a:prstGeom>
          <a:solidFill>
            <a:srgbClr val="E3E3F5"/>
          </a:solidFill>
          <a:effectLst>
            <a:outerShdw blurRad="50800" dist="38100" dir="2700000" algn="tl" rotWithShape="0">
              <a:prstClr val="black">
                <a:alpha val="40000"/>
              </a:prstClr>
            </a:outerShdw>
          </a:effectLst>
        </p:spPr>
        <p:txBody>
          <a:bodyPr vert="horz" lIns="91440" tIns="45720" rIns="91440" bIns="45720" rtlCol="0" anchor="ctr">
            <a:normAutofit/>
          </a:bodyPr>
          <a:lstStyle>
            <a:lvl1pPr algn="l" defTabSz="914400" rtl="0" eaLnBrk="1" latinLnBrk="0" hangingPunct="1">
              <a:lnSpc>
                <a:spcPct val="90000"/>
              </a:lnSpc>
              <a:spcBef>
                <a:spcPct val="0"/>
              </a:spcBef>
              <a:buNone/>
              <a:defRPr kumimoji="1" sz="2400" kern="1200">
                <a:solidFill>
                  <a:schemeClr val="tx1"/>
                </a:solidFill>
                <a:latin typeface="メイリオ" panose="020B0604030504040204" pitchFamily="50" charset="-128"/>
                <a:ea typeface="メイリオ" panose="020B0604030504040204" pitchFamily="50" charset="-128"/>
                <a:cs typeface="+mj-cs"/>
              </a:defRPr>
            </a:lvl1pPr>
          </a:lstStyle>
          <a:p>
            <a:pPr algn="ctr"/>
            <a:endParaRPr lang="ja-JP" altLang="en-US" dirty="0">
              <a:solidFill>
                <a:schemeClr val="bg1"/>
              </a:solidFill>
              <a:latin typeface="Meiryo UI" panose="020B0604030504040204" pitchFamily="50" charset="-128"/>
              <a:ea typeface="Meiryo UI" panose="020B0604030504040204" pitchFamily="50" charset="-128"/>
            </a:endParaRPr>
          </a:p>
        </p:txBody>
      </p:sp>
      <p:sp>
        <p:nvSpPr>
          <p:cNvPr id="14" name="テキスト ボックス 13"/>
          <p:cNvSpPr txBox="1"/>
          <p:nvPr/>
        </p:nvSpPr>
        <p:spPr>
          <a:xfrm>
            <a:off x="4401038" y="890134"/>
            <a:ext cx="7024973" cy="830997"/>
          </a:xfrm>
          <a:prstGeom prst="rect">
            <a:avLst/>
          </a:prstGeom>
          <a:noFill/>
        </p:spPr>
        <p:txBody>
          <a:bodyPr wrap="square" rtlCol="0">
            <a:spAutoFit/>
          </a:bodyPr>
          <a:lstStyle/>
          <a:p>
            <a:r>
              <a:rPr lang="ja-JP" altLang="en-US" sz="2400" dirty="0">
                <a:solidFill>
                  <a:srgbClr val="33328B"/>
                </a:solidFill>
                <a:latin typeface="Meiryo UI" panose="020B0604030504040204" pitchFamily="50" charset="-128"/>
                <a:ea typeface="Meiryo UI" panose="020B0604030504040204" pitchFamily="50" charset="-128"/>
              </a:rPr>
              <a:t>チケットが必要なく、改札を通ることが</a:t>
            </a:r>
            <a:r>
              <a:rPr lang="ja-JP" altLang="en-US" sz="2400" dirty="0" smtClean="0">
                <a:solidFill>
                  <a:srgbClr val="33328B"/>
                </a:solidFill>
                <a:latin typeface="Meiryo UI" panose="020B0604030504040204" pitchFamily="50" charset="-128"/>
                <a:ea typeface="Meiryo UI" panose="020B0604030504040204" pitchFamily="50" charset="-128"/>
              </a:rPr>
              <a:t>でき</a:t>
            </a:r>
            <a:endParaRPr lang="en-US" altLang="ja-JP" sz="2400" dirty="0" smtClean="0">
              <a:solidFill>
                <a:srgbClr val="33328B"/>
              </a:solidFill>
              <a:latin typeface="Meiryo UI" panose="020B0604030504040204" pitchFamily="50" charset="-128"/>
              <a:ea typeface="Meiryo UI" panose="020B0604030504040204" pitchFamily="50" charset="-128"/>
            </a:endParaRPr>
          </a:p>
          <a:p>
            <a:r>
              <a:rPr lang="ja-JP" altLang="en-US" sz="2400" dirty="0" smtClean="0">
                <a:solidFill>
                  <a:srgbClr val="33328B"/>
                </a:solidFill>
                <a:latin typeface="Meiryo UI" panose="020B0604030504040204" pitchFamily="50" charset="-128"/>
                <a:ea typeface="Meiryo UI" panose="020B0604030504040204" pitchFamily="50" charset="-128"/>
              </a:rPr>
              <a:t>スムーズかつ</a:t>
            </a:r>
            <a:r>
              <a:rPr lang="ja-JP" altLang="en-US" sz="2400" dirty="0">
                <a:solidFill>
                  <a:srgbClr val="33328B"/>
                </a:solidFill>
                <a:latin typeface="Meiryo UI" panose="020B0604030504040204" pitchFamily="50" charset="-128"/>
                <a:ea typeface="Meiryo UI" panose="020B0604030504040204" pitchFamily="50" charset="-128"/>
              </a:rPr>
              <a:t>ストレスフリーな環境を作る</a:t>
            </a:r>
            <a:r>
              <a:rPr lang="ja-JP" altLang="en-US" sz="2400" dirty="0" smtClean="0">
                <a:solidFill>
                  <a:srgbClr val="33328B"/>
                </a:solidFill>
                <a:latin typeface="Meiryo UI" panose="020B0604030504040204" pitchFamily="50" charset="-128"/>
                <a:ea typeface="Meiryo UI" panose="020B0604030504040204" pitchFamily="50" charset="-128"/>
              </a:rPr>
              <a:t>。</a:t>
            </a:r>
            <a:endParaRPr lang="en-US" altLang="ja-JP" sz="2400" dirty="0" smtClean="0">
              <a:solidFill>
                <a:srgbClr val="33328B"/>
              </a:solidFill>
              <a:latin typeface="Meiryo UI" panose="020B0604030504040204" pitchFamily="50" charset="-128"/>
              <a:ea typeface="Meiryo UI" panose="020B0604030504040204" pitchFamily="50" charset="-128"/>
            </a:endParaRPr>
          </a:p>
        </p:txBody>
      </p:sp>
      <p:sp>
        <p:nvSpPr>
          <p:cNvPr id="15" name="テキスト ボックス 14"/>
          <p:cNvSpPr txBox="1"/>
          <p:nvPr/>
        </p:nvSpPr>
        <p:spPr>
          <a:xfrm>
            <a:off x="7952415" y="1882244"/>
            <a:ext cx="3140603" cy="369332"/>
          </a:xfrm>
          <a:prstGeom prst="rect">
            <a:avLst/>
          </a:prstGeom>
          <a:noFill/>
        </p:spPr>
        <p:txBody>
          <a:bodyPr wrap="none" rtlCol="0">
            <a:spAutoFit/>
          </a:bodyPr>
          <a:lstStyle/>
          <a:p>
            <a:r>
              <a:rPr lang="ja-JP" altLang="en-US" b="1" dirty="0" smtClean="0">
                <a:solidFill>
                  <a:srgbClr val="33328B"/>
                </a:solidFill>
                <a:latin typeface="Meiryo UI" panose="020B0604030504040204" pitchFamily="50" charset="-128"/>
                <a:ea typeface="Meiryo UI" panose="020B0604030504040204" pitchFamily="50" charset="-128"/>
              </a:rPr>
              <a:t>全駅</a:t>
            </a:r>
            <a:r>
              <a:rPr lang="ja-JP" altLang="en-US" b="1" dirty="0">
                <a:solidFill>
                  <a:srgbClr val="33328B"/>
                </a:solidFill>
                <a:latin typeface="Meiryo UI" panose="020B0604030504040204" pitchFamily="50" charset="-128"/>
                <a:ea typeface="Meiryo UI" panose="020B0604030504040204" pitchFamily="50" charset="-128"/>
              </a:rPr>
              <a:t>に</a:t>
            </a:r>
            <a:r>
              <a:rPr lang="ja-JP" altLang="en-US" b="1" dirty="0" smtClean="0">
                <a:solidFill>
                  <a:srgbClr val="33328B"/>
                </a:solidFill>
                <a:latin typeface="Meiryo UI" panose="020B0604030504040204" pitchFamily="50" charset="-128"/>
                <a:ea typeface="Meiryo UI" panose="020B0604030504040204" pitchFamily="50" charset="-128"/>
              </a:rPr>
              <a:t>チケットレス</a:t>
            </a:r>
            <a:r>
              <a:rPr lang="ja-JP" altLang="en-US" b="1" dirty="0">
                <a:solidFill>
                  <a:srgbClr val="33328B"/>
                </a:solidFill>
                <a:latin typeface="Meiryo UI" panose="020B0604030504040204" pitchFamily="50" charset="-128"/>
                <a:ea typeface="Meiryo UI" panose="020B0604030504040204" pitchFamily="50" charset="-128"/>
              </a:rPr>
              <a:t>改札の</a:t>
            </a:r>
            <a:r>
              <a:rPr lang="ja-JP" altLang="en-US" b="1" dirty="0" smtClean="0">
                <a:solidFill>
                  <a:srgbClr val="33328B"/>
                </a:solidFill>
                <a:latin typeface="Meiryo UI" panose="020B0604030504040204" pitchFamily="50" charset="-128"/>
                <a:ea typeface="Meiryo UI" panose="020B0604030504040204" pitchFamily="50" charset="-128"/>
              </a:rPr>
              <a:t>導入</a:t>
            </a:r>
            <a:endParaRPr lang="en-US" altLang="ja-JP" dirty="0">
              <a:solidFill>
                <a:srgbClr val="33328B"/>
              </a:solidFill>
              <a:latin typeface="Meiryo UI" panose="020B0604030504040204" pitchFamily="50" charset="-128"/>
              <a:ea typeface="Meiryo UI" panose="020B0604030504040204" pitchFamily="50" charset="-128"/>
            </a:endParaRPr>
          </a:p>
        </p:txBody>
      </p:sp>
      <p:sp>
        <p:nvSpPr>
          <p:cNvPr id="24" name="角丸四角形 23"/>
          <p:cNvSpPr/>
          <p:nvPr/>
        </p:nvSpPr>
        <p:spPr>
          <a:xfrm>
            <a:off x="7442608" y="2994108"/>
            <a:ext cx="4110675" cy="665372"/>
          </a:xfrm>
          <a:prstGeom prst="roundRect">
            <a:avLst>
              <a:gd name="adj" fmla="val 50000"/>
            </a:avLst>
          </a:prstGeom>
          <a:solidFill>
            <a:schemeClr val="accent2"/>
          </a:solidFill>
          <a:ln>
            <a:noFill/>
          </a:ln>
          <a:effectLst>
            <a:outerShdw blurRad="50800" dist="38100" dir="2700000" algn="tl" rotWithShape="0">
              <a:prstClr val="black">
                <a:alpha val="40000"/>
              </a:prstClr>
            </a:outerShdw>
          </a:effectLst>
        </p:spPr>
        <p:style>
          <a:lnRef idx="1">
            <a:schemeClr val="accent5"/>
          </a:lnRef>
          <a:fillRef idx="3">
            <a:schemeClr val="accent5"/>
          </a:fillRef>
          <a:effectRef idx="2">
            <a:schemeClr val="accent5"/>
          </a:effectRef>
          <a:fontRef idx="minor">
            <a:schemeClr val="lt1"/>
          </a:fontRef>
        </p:style>
        <p:txBody>
          <a:bodyPr lIns="36000" rIns="36000" rtlCol="0" anchor="ctr"/>
          <a:lstStyle/>
          <a:p>
            <a:pPr algn="ctr"/>
            <a:r>
              <a:rPr kumimoji="1" lang="en-US" altLang="ja-JP" sz="2800" b="1" dirty="0" smtClean="0">
                <a:latin typeface="Meiryo UI" panose="020B0604030504040204" pitchFamily="50" charset="-128"/>
                <a:ea typeface="Meiryo UI" panose="020B0604030504040204" pitchFamily="50" charset="-128"/>
              </a:rPr>
              <a:t>2024</a:t>
            </a:r>
            <a:r>
              <a:rPr kumimoji="1" lang="ja-JP" altLang="en-US" sz="2800" b="1" dirty="0" smtClean="0">
                <a:latin typeface="Meiryo UI" panose="020B0604030504040204" pitchFamily="50" charset="-128"/>
                <a:ea typeface="Meiryo UI" panose="020B0604030504040204" pitchFamily="50" charset="-128"/>
              </a:rPr>
              <a:t>年度全駅導入予定</a:t>
            </a:r>
            <a:endParaRPr kumimoji="1" lang="ja-JP" altLang="en-US" sz="2800" b="1" dirty="0">
              <a:latin typeface="Meiryo UI" panose="020B0604030504040204" pitchFamily="50" charset="-128"/>
              <a:ea typeface="Meiryo UI" panose="020B0604030504040204" pitchFamily="50" charset="-128"/>
            </a:endParaRPr>
          </a:p>
        </p:txBody>
      </p:sp>
      <p:sp>
        <p:nvSpPr>
          <p:cNvPr id="25" name="下矢印 24"/>
          <p:cNvSpPr/>
          <p:nvPr/>
        </p:nvSpPr>
        <p:spPr>
          <a:xfrm>
            <a:off x="9294873" y="2484037"/>
            <a:ext cx="405931" cy="530507"/>
          </a:xfrm>
          <a:prstGeom prst="downArrow">
            <a:avLst/>
          </a:prstGeom>
          <a:solidFill>
            <a:srgbClr val="3332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テキスト ボックス 26"/>
          <p:cNvSpPr txBox="1"/>
          <p:nvPr/>
        </p:nvSpPr>
        <p:spPr>
          <a:xfrm>
            <a:off x="9426484" y="6216941"/>
            <a:ext cx="2209259" cy="276999"/>
          </a:xfrm>
          <a:prstGeom prst="rect">
            <a:avLst/>
          </a:prstGeom>
          <a:noFill/>
        </p:spPr>
        <p:txBody>
          <a:bodyPr wrap="none" rtlCol="0">
            <a:spAutoFit/>
          </a:bodyPr>
          <a:lstStyle/>
          <a:p>
            <a:r>
              <a:rPr kumimoji="1" lang="en-US" altLang="ja-JP" sz="1200" dirty="0" smtClean="0">
                <a:latin typeface="Meiryo UI" panose="020B0604030504040204" pitchFamily="50" charset="-128"/>
                <a:ea typeface="Meiryo UI" panose="020B0604030504040204" pitchFamily="50" charset="-128"/>
              </a:rPr>
              <a:t>(</a:t>
            </a:r>
            <a:r>
              <a:rPr lang="ja-JP" altLang="en-US" sz="1200" dirty="0" smtClean="0">
                <a:latin typeface="Meiryo UI" panose="020B0604030504040204" pitchFamily="50" charset="-128"/>
                <a:ea typeface="Meiryo UI" panose="020B0604030504040204" pitchFamily="50" charset="-128"/>
              </a:rPr>
              <a:t>上記</a:t>
            </a:r>
            <a:r>
              <a:rPr kumimoji="1" lang="ja-JP" altLang="en-US" sz="1200" dirty="0" smtClean="0">
                <a:latin typeface="Meiryo UI" panose="020B0604030504040204" pitchFamily="50" charset="-128"/>
                <a:ea typeface="Meiryo UI" panose="020B0604030504040204" pitchFamily="50" charset="-128"/>
              </a:rPr>
              <a:t>駅に設置して実証実験中</a:t>
            </a:r>
            <a:r>
              <a:rPr kumimoji="1" lang="en-US" altLang="ja-JP" sz="1200" dirty="0" smtClean="0">
                <a:latin typeface="Meiryo UI" panose="020B0604030504040204" pitchFamily="50" charset="-128"/>
                <a:ea typeface="Meiryo UI" panose="020B0604030504040204" pitchFamily="50" charset="-128"/>
              </a:rPr>
              <a:t>)</a:t>
            </a:r>
            <a:endParaRPr kumimoji="1" lang="ja-JP" altLang="en-US" sz="1200" dirty="0">
              <a:latin typeface="Meiryo UI" panose="020B0604030504040204" pitchFamily="50" charset="-128"/>
              <a:ea typeface="Meiryo UI" panose="020B0604030504040204" pitchFamily="50" charset="-128"/>
            </a:endParaRPr>
          </a:p>
        </p:txBody>
      </p:sp>
      <p:sp>
        <p:nvSpPr>
          <p:cNvPr id="28" name="タイトル 1"/>
          <p:cNvSpPr txBox="1">
            <a:spLocks/>
          </p:cNvSpPr>
          <p:nvPr/>
        </p:nvSpPr>
        <p:spPr>
          <a:xfrm>
            <a:off x="675217" y="226310"/>
            <a:ext cx="11516783" cy="46493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2400" dirty="0">
                <a:latin typeface="Meiryo UI" panose="020B0604030504040204" pitchFamily="50" charset="-128"/>
                <a:ea typeface="Meiryo UI" panose="020B0604030504040204" pitchFamily="50" charset="-128"/>
              </a:rPr>
              <a:t>4-1.</a:t>
            </a:r>
            <a:r>
              <a:rPr lang="ja-JP" altLang="en-US" sz="2400" dirty="0">
                <a:latin typeface="Meiryo UI" panose="020B0604030504040204" pitchFamily="50" charset="-128"/>
                <a:ea typeface="Meiryo UI" panose="020B0604030504040204" pitchFamily="50" charset="-128"/>
              </a:rPr>
              <a:t>　</a:t>
            </a:r>
            <a:r>
              <a:rPr lang="en-US" altLang="ja-JP" sz="2400" dirty="0">
                <a:latin typeface="Meiryo UI" panose="020B0604030504040204" pitchFamily="50" charset="-128"/>
                <a:ea typeface="Meiryo UI" panose="020B0604030504040204" pitchFamily="50" charset="-128"/>
              </a:rPr>
              <a:t>ICT</a:t>
            </a:r>
            <a:r>
              <a:rPr lang="ja-JP" altLang="en-US" sz="2400" dirty="0">
                <a:latin typeface="Meiryo UI" panose="020B0604030504040204" pitchFamily="50" charset="-128"/>
                <a:ea typeface="Meiryo UI" panose="020B0604030504040204" pitchFamily="50" charset="-128"/>
              </a:rPr>
              <a:t>サービスの普及例・・・顔認証による自動改札システム</a:t>
            </a:r>
          </a:p>
        </p:txBody>
      </p:sp>
      <p:sp>
        <p:nvSpPr>
          <p:cNvPr id="23" name="角丸四角形 22"/>
          <p:cNvSpPr/>
          <p:nvPr/>
        </p:nvSpPr>
        <p:spPr>
          <a:xfrm>
            <a:off x="7442609" y="2280663"/>
            <a:ext cx="4110458" cy="451249"/>
          </a:xfrm>
          <a:prstGeom prst="roundRect">
            <a:avLst/>
          </a:prstGeom>
          <a:solidFill>
            <a:schemeClr val="accent6"/>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a:r>
              <a:rPr kumimoji="1" lang="ja-JP" altLang="en-US" sz="2400" b="1" dirty="0" smtClean="0">
                <a:latin typeface="Meiryo UI" panose="020B0604030504040204" pitchFamily="50" charset="-128"/>
                <a:ea typeface="Meiryo UI" panose="020B0604030504040204" pitchFamily="50" charset="-128"/>
              </a:rPr>
              <a:t>全社員を対象に実証実験</a:t>
            </a:r>
            <a:endParaRPr kumimoji="1" lang="ja-JP" altLang="en-US" sz="2400" b="1" dirty="0">
              <a:latin typeface="Meiryo UI" panose="020B0604030504040204" pitchFamily="50" charset="-128"/>
              <a:ea typeface="Meiryo UI" panose="020B0604030504040204" pitchFamily="50" charset="-128"/>
            </a:endParaRPr>
          </a:p>
        </p:txBody>
      </p:sp>
      <p:sp>
        <p:nvSpPr>
          <p:cNvPr id="3" name="テキスト ボックス 2"/>
          <p:cNvSpPr txBox="1"/>
          <p:nvPr/>
        </p:nvSpPr>
        <p:spPr>
          <a:xfrm>
            <a:off x="671324" y="2200108"/>
            <a:ext cx="3203121" cy="1631216"/>
          </a:xfrm>
          <a:prstGeom prst="rect">
            <a:avLst/>
          </a:prstGeom>
          <a:noFill/>
        </p:spPr>
        <p:txBody>
          <a:bodyPr wrap="none" rtlCol="0">
            <a:spAutoFit/>
          </a:bodyPr>
          <a:lstStyle/>
          <a:p>
            <a:pPr>
              <a:spcBef>
                <a:spcPts val="600"/>
              </a:spcBef>
              <a:buClr>
                <a:srgbClr val="969696"/>
              </a:buClr>
              <a:buSzPct val="80000"/>
              <a:defRPr/>
            </a:pPr>
            <a:r>
              <a:rPr lang="en-US" altLang="ja-JP" dirty="0">
                <a:solidFill>
                  <a:prstClr val="black"/>
                </a:solidFill>
                <a:latin typeface="Meiryo UI"/>
                <a:ea typeface="Meiryo UI"/>
              </a:rPr>
              <a:t>QR</a:t>
            </a:r>
            <a:r>
              <a:rPr lang="ja-JP" altLang="en-US" dirty="0">
                <a:solidFill>
                  <a:prstClr val="black"/>
                </a:solidFill>
                <a:latin typeface="Meiryo UI"/>
                <a:ea typeface="Meiryo UI"/>
              </a:rPr>
              <a:t>コードや顔認証と</a:t>
            </a:r>
            <a:r>
              <a:rPr lang="ja-JP" altLang="en-US" dirty="0" smtClean="0">
                <a:solidFill>
                  <a:prstClr val="black"/>
                </a:solidFill>
                <a:latin typeface="Meiryo UI"/>
                <a:ea typeface="Meiryo UI"/>
              </a:rPr>
              <a:t>いった</a:t>
            </a:r>
            <a:endParaRPr lang="en-US" altLang="ja-JP" dirty="0" smtClean="0">
              <a:solidFill>
                <a:prstClr val="black"/>
              </a:solidFill>
              <a:latin typeface="Meiryo UI"/>
              <a:ea typeface="Meiryo UI"/>
            </a:endParaRPr>
          </a:p>
          <a:p>
            <a:pPr>
              <a:spcBef>
                <a:spcPts val="600"/>
              </a:spcBef>
              <a:buClr>
                <a:srgbClr val="969696"/>
              </a:buClr>
              <a:buSzPct val="80000"/>
              <a:defRPr/>
            </a:pPr>
            <a:r>
              <a:rPr lang="ja-JP" altLang="en-US" dirty="0" smtClean="0">
                <a:solidFill>
                  <a:prstClr val="black"/>
                </a:solidFill>
                <a:latin typeface="Meiryo UI"/>
                <a:ea typeface="Meiryo UI"/>
              </a:rPr>
              <a:t>様々</a:t>
            </a:r>
            <a:r>
              <a:rPr lang="ja-JP" altLang="en-US" dirty="0">
                <a:solidFill>
                  <a:prstClr val="black"/>
                </a:solidFill>
                <a:latin typeface="Meiryo UI"/>
                <a:ea typeface="Meiryo UI"/>
              </a:rPr>
              <a:t>な</a:t>
            </a:r>
            <a:r>
              <a:rPr lang="ja-JP" altLang="en-US" dirty="0">
                <a:latin typeface="Meiryo UI"/>
                <a:ea typeface="Meiryo UI"/>
              </a:rPr>
              <a:t>認証</a:t>
            </a:r>
            <a:r>
              <a:rPr lang="ja-JP" altLang="en-US" dirty="0">
                <a:solidFill>
                  <a:prstClr val="black"/>
                </a:solidFill>
                <a:latin typeface="Meiryo UI"/>
                <a:ea typeface="Meiryo UI"/>
              </a:rPr>
              <a:t>システムに対応</a:t>
            </a:r>
            <a:r>
              <a:rPr lang="ja-JP" altLang="en-US" dirty="0" smtClean="0">
                <a:solidFill>
                  <a:prstClr val="black"/>
                </a:solidFill>
                <a:latin typeface="Meiryo UI"/>
                <a:ea typeface="Meiryo UI"/>
              </a:rPr>
              <a:t>した</a:t>
            </a:r>
            <a:endParaRPr lang="en-US" altLang="ja-JP" dirty="0" smtClean="0">
              <a:solidFill>
                <a:prstClr val="black"/>
              </a:solidFill>
              <a:latin typeface="Meiryo UI"/>
              <a:ea typeface="Meiryo UI"/>
            </a:endParaRPr>
          </a:p>
          <a:p>
            <a:pPr>
              <a:spcBef>
                <a:spcPts val="600"/>
              </a:spcBef>
              <a:buClr>
                <a:srgbClr val="969696"/>
              </a:buClr>
              <a:buSzPct val="80000"/>
              <a:defRPr/>
            </a:pPr>
            <a:r>
              <a:rPr lang="ja-JP" altLang="en-US" dirty="0" smtClean="0">
                <a:solidFill>
                  <a:prstClr val="black"/>
                </a:solidFill>
                <a:latin typeface="Meiryo UI"/>
                <a:ea typeface="Meiryo UI"/>
              </a:rPr>
              <a:t>多機能</a:t>
            </a:r>
            <a:r>
              <a:rPr lang="ja-JP" altLang="en-US" dirty="0">
                <a:solidFill>
                  <a:prstClr val="black"/>
                </a:solidFill>
                <a:latin typeface="Meiryo UI"/>
                <a:ea typeface="Meiryo UI"/>
              </a:rPr>
              <a:t>の改札機を整備していく。</a:t>
            </a:r>
            <a:endParaRPr lang="en-US" altLang="ja-JP" dirty="0">
              <a:solidFill>
                <a:prstClr val="black"/>
              </a:solidFill>
              <a:latin typeface="Meiryo UI" panose="020B0604030504040204" pitchFamily="50" charset="-128"/>
              <a:ea typeface="Meiryo UI" panose="020B0604030504040204" pitchFamily="50" charset="-128"/>
            </a:endParaRPr>
          </a:p>
          <a:p>
            <a:pPr>
              <a:buClr>
                <a:srgbClr val="969696"/>
              </a:buClr>
              <a:buSzPct val="80000"/>
              <a:defRPr/>
            </a:pPr>
            <a:endParaRPr lang="en-US" altLang="ja-JP" dirty="0">
              <a:solidFill>
                <a:prstClr val="black"/>
              </a:solidFill>
              <a:latin typeface="Meiryo UI"/>
              <a:ea typeface="Meiryo UI"/>
            </a:endParaRPr>
          </a:p>
          <a:p>
            <a:endParaRPr kumimoji="1" lang="ja-JP" altLang="en-US" dirty="0"/>
          </a:p>
        </p:txBody>
      </p:sp>
      <p:pic>
        <p:nvPicPr>
          <p:cNvPr id="12" name="図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00686" y="2015416"/>
            <a:ext cx="1853767" cy="1993298"/>
          </a:xfrm>
          <a:prstGeom prst="rect">
            <a:avLst/>
          </a:prstGeom>
        </p:spPr>
      </p:pic>
      <p:grpSp>
        <p:nvGrpSpPr>
          <p:cNvPr id="17" name="グループ化 16"/>
          <p:cNvGrpSpPr/>
          <p:nvPr/>
        </p:nvGrpSpPr>
        <p:grpSpPr bwMode="gray">
          <a:xfrm>
            <a:off x="6129246" y="1939212"/>
            <a:ext cx="1198944" cy="1198944"/>
            <a:chOff x="11249582" y="1823809"/>
            <a:chExt cx="1626711" cy="1626711"/>
          </a:xfrm>
        </p:grpSpPr>
        <p:sp>
          <p:nvSpPr>
            <p:cNvPr id="39" name="円/楕円 38"/>
            <p:cNvSpPr/>
            <p:nvPr/>
          </p:nvSpPr>
          <p:spPr bwMode="gray">
            <a:xfrm>
              <a:off x="11249582" y="1823809"/>
              <a:ext cx="1626711" cy="1626711"/>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6" name="図 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bwMode="gray">
            <a:xfrm>
              <a:off x="11371355" y="1977460"/>
              <a:ext cx="1383164" cy="1324380"/>
            </a:xfrm>
            <a:prstGeom prst="rect">
              <a:avLst/>
            </a:prstGeom>
          </p:spPr>
        </p:pic>
      </p:grpSp>
      <p:grpSp>
        <p:nvGrpSpPr>
          <p:cNvPr id="32" name="グループ化 31"/>
          <p:cNvGrpSpPr/>
          <p:nvPr/>
        </p:nvGrpSpPr>
        <p:grpSpPr>
          <a:xfrm>
            <a:off x="667963" y="3973507"/>
            <a:ext cx="2942403" cy="2206800"/>
            <a:chOff x="533957" y="3973507"/>
            <a:chExt cx="2942403" cy="2206800"/>
          </a:xfrm>
          <a:effectLst>
            <a:outerShdw blurRad="50800" dist="38100" dir="2700000" algn="tl" rotWithShape="0">
              <a:prstClr val="black">
                <a:alpha val="40000"/>
              </a:prstClr>
            </a:outerShdw>
          </a:effectLst>
        </p:grpSpPr>
        <p:pic>
          <p:nvPicPr>
            <p:cNvPr id="20" name="図 1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33957" y="3973507"/>
              <a:ext cx="2942403" cy="2206800"/>
            </a:xfrm>
            <a:prstGeom prst="rect">
              <a:avLst/>
            </a:prstGeom>
          </p:spPr>
        </p:pic>
        <p:sp>
          <p:nvSpPr>
            <p:cNvPr id="40" name="正方形/長方形 39"/>
            <p:cNvSpPr/>
            <p:nvPr/>
          </p:nvSpPr>
          <p:spPr>
            <a:xfrm>
              <a:off x="533957" y="5851153"/>
              <a:ext cx="2941200" cy="329154"/>
            </a:xfrm>
            <a:prstGeom prst="rect">
              <a:avLst/>
            </a:prstGeom>
            <a:solidFill>
              <a:schemeClr val="accent1">
                <a:lumMod val="50000"/>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bg1"/>
                  </a:solidFill>
                  <a:latin typeface="Meiryo UI" panose="020B0604030504040204" pitchFamily="50" charset="-128"/>
                  <a:ea typeface="Meiryo UI" panose="020B0604030504040204" pitchFamily="50" charset="-128"/>
                </a:rPr>
                <a:t>ドーム前</a:t>
              </a:r>
              <a:r>
                <a:rPr lang="ja-JP" altLang="en-US" dirty="0" smtClean="0">
                  <a:solidFill>
                    <a:schemeClr val="bg1"/>
                  </a:solidFill>
                  <a:latin typeface="Meiryo UI" panose="020B0604030504040204" pitchFamily="50" charset="-128"/>
                  <a:ea typeface="Meiryo UI" panose="020B0604030504040204" pitchFamily="50" charset="-128"/>
                </a:rPr>
                <a:t>千代崎</a:t>
              </a:r>
              <a:endParaRPr lang="ja-JP" altLang="en-US" dirty="0">
                <a:solidFill>
                  <a:schemeClr val="bg1"/>
                </a:solidFill>
                <a:latin typeface="Meiryo UI" panose="020B0604030504040204" pitchFamily="50" charset="-128"/>
                <a:ea typeface="Meiryo UI" panose="020B0604030504040204" pitchFamily="50" charset="-128"/>
              </a:endParaRPr>
            </a:p>
          </p:txBody>
        </p:sp>
      </p:grpSp>
      <p:grpSp>
        <p:nvGrpSpPr>
          <p:cNvPr id="30" name="グループ化 29"/>
          <p:cNvGrpSpPr/>
          <p:nvPr/>
        </p:nvGrpSpPr>
        <p:grpSpPr>
          <a:xfrm>
            <a:off x="3713615" y="3973507"/>
            <a:ext cx="2942398" cy="2206800"/>
            <a:chOff x="3625810" y="3973507"/>
            <a:chExt cx="2942398" cy="2206800"/>
          </a:xfrm>
          <a:effectLst>
            <a:outerShdw blurRad="50800" dist="38100" dir="2700000" algn="tl" rotWithShape="0">
              <a:prstClr val="black">
                <a:alpha val="40000"/>
              </a:prstClr>
            </a:outerShdw>
          </a:effectLst>
        </p:grpSpPr>
        <p:pic>
          <p:nvPicPr>
            <p:cNvPr id="21" name="図 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625810" y="3973507"/>
              <a:ext cx="2942398" cy="2206800"/>
            </a:xfrm>
            <a:prstGeom prst="rect">
              <a:avLst/>
            </a:prstGeom>
          </p:spPr>
        </p:pic>
        <p:sp>
          <p:nvSpPr>
            <p:cNvPr id="36" name="正方形/長方形 35"/>
            <p:cNvSpPr/>
            <p:nvPr/>
          </p:nvSpPr>
          <p:spPr>
            <a:xfrm>
              <a:off x="3625810" y="5856561"/>
              <a:ext cx="2941200" cy="323746"/>
            </a:xfrm>
            <a:prstGeom prst="rect">
              <a:avLst/>
            </a:prstGeom>
            <a:solidFill>
              <a:schemeClr val="accent1">
                <a:lumMod val="50000"/>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bg1"/>
                  </a:solidFill>
                  <a:latin typeface="Meiryo UI" panose="020B0604030504040204" pitchFamily="50" charset="-128"/>
                  <a:ea typeface="Meiryo UI" panose="020B0604030504040204" pitchFamily="50" charset="-128"/>
                </a:rPr>
                <a:t>森ノ宮</a:t>
              </a:r>
            </a:p>
          </p:txBody>
        </p:sp>
      </p:grpSp>
      <p:pic>
        <p:nvPicPr>
          <p:cNvPr id="22" name="図 2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767828" y="3973113"/>
            <a:ext cx="2942924" cy="2207194"/>
          </a:xfrm>
          <a:prstGeom prst="rect">
            <a:avLst/>
          </a:prstGeom>
          <a:effectLst>
            <a:outerShdw blurRad="50800" dist="38100" dir="2700000" algn="tl" rotWithShape="0">
              <a:prstClr val="black">
                <a:alpha val="40000"/>
              </a:prstClr>
            </a:outerShdw>
          </a:effectLst>
        </p:spPr>
      </p:pic>
      <p:sp>
        <p:nvSpPr>
          <p:cNvPr id="37" name="正方形/長方形 36"/>
          <p:cNvSpPr/>
          <p:nvPr/>
        </p:nvSpPr>
        <p:spPr>
          <a:xfrm>
            <a:off x="6767828" y="5856561"/>
            <a:ext cx="2941200" cy="323746"/>
          </a:xfrm>
          <a:prstGeom prst="rect">
            <a:avLst/>
          </a:prstGeom>
          <a:solidFill>
            <a:schemeClr val="accent1">
              <a:lumMod val="50000"/>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dirty="0">
                <a:latin typeface="Meiryo UI" panose="020B0604030504040204" pitchFamily="50" charset="-128"/>
                <a:ea typeface="Meiryo UI" panose="020B0604030504040204" pitchFamily="50" charset="-128"/>
              </a:rPr>
              <a:t>大国町</a:t>
            </a:r>
          </a:p>
        </p:txBody>
      </p:sp>
      <p:grpSp>
        <p:nvGrpSpPr>
          <p:cNvPr id="18" name="グループ化 17"/>
          <p:cNvGrpSpPr>
            <a:grpSpLocks noChangeAspect="1"/>
          </p:cNvGrpSpPr>
          <p:nvPr/>
        </p:nvGrpSpPr>
        <p:grpSpPr>
          <a:xfrm>
            <a:off x="9814525" y="3973113"/>
            <a:ext cx="1668299" cy="2207194"/>
            <a:chOff x="10037308" y="3919392"/>
            <a:chExt cx="1668299" cy="2224397"/>
          </a:xfrm>
          <a:effectLst>
            <a:outerShdw blurRad="50800" dist="38100" dir="2700000" algn="tl" rotWithShape="0">
              <a:prstClr val="black">
                <a:alpha val="40000"/>
              </a:prstClr>
            </a:outerShdw>
          </a:effectLst>
        </p:grpSpPr>
        <p:pic>
          <p:nvPicPr>
            <p:cNvPr id="29" name="図 2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rot="5400000">
              <a:off x="9759259" y="4197442"/>
              <a:ext cx="2224397" cy="1668298"/>
            </a:xfrm>
            <a:prstGeom prst="rect">
              <a:avLst/>
            </a:prstGeom>
            <a:solidFill>
              <a:schemeClr val="bg2">
                <a:lumMod val="50000"/>
                <a:alpha val="62000"/>
              </a:schemeClr>
            </a:solidFill>
          </p:spPr>
        </p:pic>
        <p:sp>
          <p:nvSpPr>
            <p:cNvPr id="38" name="正方形/長方形 37"/>
            <p:cNvSpPr/>
            <p:nvPr/>
          </p:nvSpPr>
          <p:spPr>
            <a:xfrm>
              <a:off x="10037308" y="5820043"/>
              <a:ext cx="1668299" cy="323746"/>
            </a:xfrm>
            <a:prstGeom prst="rect">
              <a:avLst/>
            </a:prstGeom>
            <a:solidFill>
              <a:schemeClr val="accent1">
                <a:lumMod val="50000"/>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dirty="0">
                  <a:latin typeface="Meiryo UI" panose="020B0604030504040204" pitchFamily="50" charset="-128"/>
                  <a:ea typeface="Meiryo UI" panose="020B0604030504040204" pitchFamily="50" charset="-128"/>
                </a:rPr>
                <a:t>動物園前</a:t>
              </a:r>
            </a:p>
          </p:txBody>
        </p:sp>
      </p:grpSp>
    </p:spTree>
    <p:extLst>
      <p:ext uri="{BB962C8B-B14F-4D97-AF65-F5344CB8AC3E}">
        <p14:creationId xmlns:p14="http://schemas.microsoft.com/office/powerpoint/2010/main" val="162337262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タイトル 1"/>
          <p:cNvSpPr>
            <a:spLocks noGrp="1"/>
          </p:cNvSpPr>
          <p:nvPr>
            <p:ph type="title"/>
          </p:nvPr>
        </p:nvSpPr>
        <p:spPr>
          <a:xfrm>
            <a:off x="675217" y="799685"/>
            <a:ext cx="3492255" cy="866207"/>
          </a:xfrm>
          <a:solidFill>
            <a:srgbClr val="33328B"/>
          </a:solidFill>
          <a:effectLst>
            <a:outerShdw blurRad="50800" dist="38100" dir="2700000" algn="tl" rotWithShape="0">
              <a:prstClr val="black">
                <a:alpha val="40000"/>
              </a:prstClr>
            </a:outerShdw>
          </a:effectLst>
        </p:spPr>
        <p:txBody>
          <a:bodyPr wrap="none">
            <a:normAutofit/>
          </a:bodyPr>
          <a:lstStyle/>
          <a:p>
            <a:pPr algn="ctr"/>
            <a:r>
              <a:rPr lang="ja-JP" altLang="en-US" b="1" dirty="0" smtClean="0">
                <a:solidFill>
                  <a:schemeClr val="bg1"/>
                </a:solidFill>
                <a:latin typeface="Meiryo UI" panose="020B0604030504040204" pitchFamily="50" charset="-128"/>
                <a:ea typeface="Meiryo UI" panose="020B0604030504040204" pitchFamily="50" charset="-128"/>
              </a:rPr>
              <a:t>地下</a:t>
            </a:r>
            <a:r>
              <a:rPr lang="ja-JP" altLang="en-US" b="1" dirty="0">
                <a:solidFill>
                  <a:schemeClr val="bg1"/>
                </a:solidFill>
                <a:latin typeface="Meiryo UI" panose="020B0604030504040204" pitchFamily="50" charset="-128"/>
                <a:ea typeface="Meiryo UI" panose="020B0604030504040204" pitchFamily="50" charset="-128"/>
              </a:rPr>
              <a:t>空間</a:t>
            </a:r>
            <a:r>
              <a:rPr lang="ja-JP" altLang="en-US" b="1" dirty="0" smtClean="0">
                <a:solidFill>
                  <a:schemeClr val="bg1"/>
                </a:solidFill>
                <a:latin typeface="Meiryo UI" panose="020B0604030504040204" pitchFamily="50" charset="-128"/>
                <a:ea typeface="Meiryo UI" panose="020B0604030504040204" pitchFamily="50" charset="-128"/>
              </a:rPr>
              <a:t>のリニューアル</a:t>
            </a:r>
            <a:endParaRPr kumimoji="1" lang="ja-JP" altLang="en-US" b="1" dirty="0">
              <a:solidFill>
                <a:schemeClr val="bg1"/>
              </a:solidFill>
              <a:latin typeface="Meiryo UI" panose="020B0604030504040204" pitchFamily="50" charset="-128"/>
              <a:ea typeface="Meiryo UI" panose="020B0604030504040204" pitchFamily="50" charset="-128"/>
            </a:endParaRPr>
          </a:p>
        </p:txBody>
      </p:sp>
      <p:sp>
        <p:nvSpPr>
          <p:cNvPr id="20" name="タイトル 1"/>
          <p:cNvSpPr txBox="1">
            <a:spLocks/>
          </p:cNvSpPr>
          <p:nvPr/>
        </p:nvSpPr>
        <p:spPr>
          <a:xfrm>
            <a:off x="387141" y="1739413"/>
            <a:ext cx="5167544" cy="1069015"/>
          </a:xfrm>
          <a:prstGeom prst="rect">
            <a:avLst/>
          </a:prstGeom>
          <a:solidFill>
            <a:srgbClr val="E3E3F5"/>
          </a:solidFill>
          <a:effectLst>
            <a:outerShdw blurRad="50800" dist="38100" dir="2700000" algn="tl" rotWithShape="0">
              <a:prstClr val="black">
                <a:alpha val="40000"/>
              </a:prstClr>
            </a:outerShdw>
          </a:effectLst>
        </p:spPr>
        <p:txBody>
          <a:bodyPr vert="horz" lIns="91440" tIns="45720" rIns="91440" bIns="45720" rtlCol="0" anchor="ctr">
            <a:normAutofit/>
          </a:bodyPr>
          <a:lstStyle>
            <a:lvl1pPr algn="l" defTabSz="914400" rtl="0" eaLnBrk="1" latinLnBrk="0" hangingPunct="1">
              <a:lnSpc>
                <a:spcPct val="90000"/>
              </a:lnSpc>
              <a:spcBef>
                <a:spcPct val="0"/>
              </a:spcBef>
              <a:buNone/>
              <a:defRPr kumimoji="1" sz="2400" kern="1200">
                <a:solidFill>
                  <a:schemeClr val="tx1"/>
                </a:solidFill>
                <a:latin typeface="メイリオ" panose="020B0604030504040204" pitchFamily="50" charset="-128"/>
                <a:ea typeface="メイリオ" panose="020B0604030504040204" pitchFamily="50" charset="-128"/>
                <a:cs typeface="+mj-cs"/>
              </a:defRPr>
            </a:lvl1pPr>
          </a:lstStyle>
          <a:p>
            <a:pPr algn="ctr"/>
            <a:endParaRPr lang="ja-JP" altLang="en-US" b="1" dirty="0">
              <a:solidFill>
                <a:schemeClr val="bg1"/>
              </a:solidFill>
              <a:latin typeface="Meiryo UI" panose="020B0604030504040204" pitchFamily="50" charset="-128"/>
              <a:ea typeface="Meiryo UI" panose="020B0604030504040204" pitchFamily="50" charset="-128"/>
            </a:endParaRPr>
          </a:p>
        </p:txBody>
      </p:sp>
      <p:sp>
        <p:nvSpPr>
          <p:cNvPr id="15" name="タイトル 1"/>
          <p:cNvSpPr txBox="1">
            <a:spLocks/>
          </p:cNvSpPr>
          <p:nvPr/>
        </p:nvSpPr>
        <p:spPr>
          <a:xfrm>
            <a:off x="675217" y="226310"/>
            <a:ext cx="11516783" cy="46493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en-US" altLang="ja-JP" sz="2400" dirty="0">
                <a:latin typeface="Meiryo UI" panose="020B0604030504040204" pitchFamily="50" charset="-128"/>
                <a:ea typeface="Meiryo UI" panose="020B0604030504040204" pitchFamily="50" charset="-128"/>
              </a:rPr>
              <a:t>4-2</a:t>
            </a:r>
            <a:r>
              <a:rPr lang="ja-JP" altLang="en-US" sz="2400" dirty="0" err="1">
                <a:latin typeface="Meiryo UI" panose="020B0604030504040204" pitchFamily="50" charset="-128"/>
                <a:ea typeface="Meiryo UI" panose="020B0604030504040204" pitchFamily="50" charset="-128"/>
              </a:rPr>
              <a:t>．</a:t>
            </a:r>
            <a:r>
              <a:rPr lang="ja-JP" altLang="en-US" sz="2400" dirty="0">
                <a:latin typeface="Meiryo UI" panose="020B0604030504040204" pitchFamily="50" charset="-128"/>
                <a:ea typeface="Meiryo UI" panose="020B0604030504040204" pitchFamily="50" charset="-128"/>
              </a:rPr>
              <a:t>駅の大規模リニューアルの</a:t>
            </a:r>
            <a:r>
              <a:rPr lang="ja-JP" altLang="en-US" sz="2400" dirty="0" smtClean="0">
                <a:latin typeface="Meiryo UI" panose="020B0604030504040204" pitchFamily="50" charset="-128"/>
                <a:ea typeface="Meiryo UI" panose="020B0604030504040204" pitchFamily="50" charset="-128"/>
              </a:rPr>
              <a:t>取組み</a:t>
            </a:r>
            <a:endParaRPr lang="en-US" altLang="ja-JP" sz="2400" dirty="0">
              <a:latin typeface="Meiryo UI" panose="020B0604030504040204" pitchFamily="50" charset="-128"/>
              <a:ea typeface="Meiryo UI" panose="020B0604030504040204" pitchFamily="50" charset="-128"/>
            </a:endParaRPr>
          </a:p>
        </p:txBody>
      </p:sp>
      <p:sp>
        <p:nvSpPr>
          <p:cNvPr id="12" name="テキスト ボックス 11"/>
          <p:cNvSpPr txBox="1"/>
          <p:nvPr/>
        </p:nvSpPr>
        <p:spPr>
          <a:xfrm>
            <a:off x="510989" y="1823469"/>
            <a:ext cx="4945428" cy="830997"/>
          </a:xfrm>
          <a:prstGeom prst="rect">
            <a:avLst/>
          </a:prstGeom>
          <a:noFill/>
        </p:spPr>
        <p:txBody>
          <a:bodyPr wrap="square" rtlCol="0">
            <a:spAutoFit/>
          </a:bodyPr>
          <a:lstStyle/>
          <a:p>
            <a:r>
              <a:rPr kumimoji="0" lang="ja-JP" altLang="en-US" sz="1600" dirty="0">
                <a:solidFill>
                  <a:srgbClr val="33328B"/>
                </a:solidFill>
                <a:latin typeface="Meiryo UI"/>
                <a:ea typeface="Meiryo UI"/>
              </a:rPr>
              <a:t>快適な移動の提供のみならず、利用することが</a:t>
            </a:r>
            <a:r>
              <a:rPr lang="ja-JP" altLang="en-US" sz="1600" dirty="0">
                <a:solidFill>
                  <a:srgbClr val="33328B"/>
                </a:solidFill>
                <a:latin typeface="Meiryo UI"/>
                <a:ea typeface="Meiryo UI"/>
              </a:rPr>
              <a:t>目的になるような駅毎の特徴を演出し、賑わいを創出することによって、地下空間の魅力度</a:t>
            </a:r>
            <a:r>
              <a:rPr lang="ja-JP" altLang="en-US" sz="1600" dirty="0" smtClean="0">
                <a:solidFill>
                  <a:srgbClr val="33328B"/>
                </a:solidFill>
                <a:latin typeface="Meiryo UI"/>
                <a:ea typeface="Meiryo UI"/>
              </a:rPr>
              <a:t>を向上</a:t>
            </a:r>
            <a:r>
              <a:rPr lang="ja-JP" altLang="en-US" sz="1600" dirty="0">
                <a:solidFill>
                  <a:srgbClr val="33328B"/>
                </a:solidFill>
                <a:latin typeface="Meiryo UI"/>
                <a:ea typeface="Meiryo UI"/>
              </a:rPr>
              <a:t>し、大阪の更なる活性化に寄与</a:t>
            </a:r>
            <a:r>
              <a:rPr lang="ja-JP" altLang="en-US" sz="1600" dirty="0" smtClean="0">
                <a:solidFill>
                  <a:srgbClr val="33328B"/>
                </a:solidFill>
                <a:latin typeface="Meiryo UI"/>
                <a:ea typeface="Meiryo UI"/>
              </a:rPr>
              <a:t>。</a:t>
            </a:r>
            <a:endParaRPr lang="en-US" altLang="ja-JP" sz="1600" dirty="0">
              <a:solidFill>
                <a:srgbClr val="33328B"/>
              </a:solidFill>
              <a:latin typeface="Meiryo UI"/>
              <a:ea typeface="Meiryo UI"/>
            </a:endParaRPr>
          </a:p>
        </p:txBody>
      </p:sp>
      <p:pic>
        <p:nvPicPr>
          <p:cNvPr id="19" name="図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94629" y="310135"/>
            <a:ext cx="6157427" cy="4104950"/>
          </a:xfrm>
          <a:prstGeom prst="rect">
            <a:avLst/>
          </a:prstGeom>
        </p:spPr>
      </p:pic>
      <p:pic>
        <p:nvPicPr>
          <p:cNvPr id="21" name="図 20"/>
          <p:cNvPicPr>
            <a:picLocks noChangeAspect="1"/>
          </p:cNvPicPr>
          <p:nvPr/>
        </p:nvPicPr>
        <p:blipFill>
          <a:blip r:embed="rId4" cstate="print">
            <a:extLst>
              <a:ext uri="{BEBA8EAE-BF5A-486C-A8C5-ECC9F3942E4B}">
                <a14:imgProps xmlns:a14="http://schemas.microsoft.com/office/drawing/2010/main">
                  <a14:imgLayer r:embed="rId5">
                    <a14:imgEffect>
                      <a14:brightnessContrast bright="40000"/>
                    </a14:imgEffect>
                  </a14:imgLayer>
                </a14:imgProps>
              </a:ext>
              <a:ext uri="{28A0092B-C50C-407E-A947-70E740481C1C}">
                <a14:useLocalDpi xmlns:a14="http://schemas.microsoft.com/office/drawing/2010/main" val="0"/>
              </a:ext>
            </a:extLst>
          </a:blip>
          <a:stretch>
            <a:fillRect/>
          </a:stretch>
        </p:blipFill>
        <p:spPr>
          <a:xfrm>
            <a:off x="675217" y="3459835"/>
            <a:ext cx="3612823" cy="2709617"/>
          </a:xfrm>
          <a:prstGeom prst="rect">
            <a:avLst/>
          </a:prstGeom>
        </p:spPr>
      </p:pic>
      <p:pic>
        <p:nvPicPr>
          <p:cNvPr id="22" name="図 2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794629" y="4498910"/>
            <a:ext cx="6157427" cy="2162686"/>
          </a:xfrm>
          <a:prstGeom prst="rect">
            <a:avLst/>
          </a:prstGeom>
        </p:spPr>
      </p:pic>
      <p:sp>
        <p:nvSpPr>
          <p:cNvPr id="27" name="タイトル 1"/>
          <p:cNvSpPr txBox="1">
            <a:spLocks/>
          </p:cNvSpPr>
          <p:nvPr/>
        </p:nvSpPr>
        <p:spPr>
          <a:xfrm>
            <a:off x="355886" y="2920320"/>
            <a:ext cx="5003381" cy="464936"/>
          </a:xfrm>
          <a:prstGeom prst="rect">
            <a:avLst/>
          </a:prstGeom>
        </p:spPr>
        <p:txBody>
          <a:bodyPr vert="horz" lIns="91440" tIns="45720" rIns="91440" bIns="45720" rtlCol="0" anchor="ctr">
            <a:normAutofit fontScale="70000" lnSpcReduction="20000"/>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dirty="0" smtClean="0">
                <a:latin typeface="Meiryo UI" panose="020B0604030504040204" pitchFamily="50" charset="-128"/>
                <a:ea typeface="Meiryo UI" panose="020B0604030504040204" pitchFamily="50" charset="-128"/>
              </a:rPr>
              <a:t>新大阪駅（左：リニューアル前、右：リニューアル後）</a:t>
            </a:r>
            <a:endParaRPr lang="en-US" altLang="ja-JP" sz="2400" dirty="0">
              <a:latin typeface="Meiryo UI" panose="020B0604030504040204" pitchFamily="50" charset="-128"/>
              <a:ea typeface="Meiryo UI" panose="020B0604030504040204" pitchFamily="50" charset="-128"/>
            </a:endParaRPr>
          </a:p>
        </p:txBody>
      </p:sp>
      <p:sp>
        <p:nvSpPr>
          <p:cNvPr id="28" name="右矢印 27"/>
          <p:cNvSpPr/>
          <p:nvPr/>
        </p:nvSpPr>
        <p:spPr>
          <a:xfrm rot="20099125">
            <a:off x="4520154" y="3577165"/>
            <a:ext cx="1036473" cy="580529"/>
          </a:xfrm>
          <a:prstGeom prst="rightArrow">
            <a:avLst/>
          </a:prstGeom>
          <a:solidFill>
            <a:srgbClr val="FF66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右矢印 28"/>
          <p:cNvSpPr/>
          <p:nvPr/>
        </p:nvSpPr>
        <p:spPr>
          <a:xfrm rot="961471">
            <a:off x="4534291" y="5058211"/>
            <a:ext cx="1036473" cy="580529"/>
          </a:xfrm>
          <a:prstGeom prst="rightArrow">
            <a:avLst/>
          </a:prstGeom>
          <a:solidFill>
            <a:srgbClr val="FF66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43987962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extBox 41"/>
          <p:cNvSpPr txBox="1"/>
          <p:nvPr/>
        </p:nvSpPr>
        <p:spPr>
          <a:xfrm>
            <a:off x="2314551" y="4749689"/>
            <a:ext cx="8104072" cy="864000"/>
          </a:xfrm>
          <a:prstGeom prst="rect">
            <a:avLst/>
          </a:prstGeom>
          <a:noFill/>
        </p:spPr>
        <p:txBody>
          <a:bodyPr wrap="square" lIns="46800" rIns="46800" rtlCol="0" anchor="t" anchorCtr="0">
            <a:noAutofit/>
          </a:bodyPr>
          <a:lstStyle/>
          <a:p>
            <a:r>
              <a:rPr lang="ja-JP" altLang="en-US" sz="1600" dirty="0">
                <a:solidFill>
                  <a:prstClr val="black"/>
                </a:solidFill>
              </a:rPr>
              <a:t>本資料に掲載されている情報のうち、過去の実績以外は将来の見通しであり、</a:t>
            </a:r>
            <a:endParaRPr lang="en-US" altLang="ja-JP" sz="1600" dirty="0">
              <a:solidFill>
                <a:prstClr val="black"/>
              </a:solidFill>
            </a:endParaRPr>
          </a:p>
          <a:p>
            <a:r>
              <a:rPr lang="ja-JP" altLang="en-US" sz="1600" dirty="0">
                <a:solidFill>
                  <a:prstClr val="black"/>
                </a:solidFill>
              </a:rPr>
              <a:t>これらは現在入手可能な情報から得られた当社の判断に基づいています。</a:t>
            </a:r>
          </a:p>
          <a:p>
            <a:r>
              <a:rPr lang="ja-JP" altLang="en-US" sz="1600" dirty="0">
                <a:solidFill>
                  <a:prstClr val="black"/>
                </a:solidFill>
              </a:rPr>
              <a:t>従って、実際の業績はこれらと異なる結果になる場合がありますことをご了承ください。</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36022" y="1680729"/>
            <a:ext cx="2917487" cy="3068960"/>
          </a:xfrm>
          <a:prstGeom prst="rect">
            <a:avLst/>
          </a:prstGeom>
        </p:spPr>
      </p:pic>
    </p:spTree>
    <p:extLst>
      <p:ext uri="{BB962C8B-B14F-4D97-AF65-F5344CB8AC3E}">
        <p14:creationId xmlns:p14="http://schemas.microsoft.com/office/powerpoint/2010/main" val="1115482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p:cNvPicPr>
            <a:picLocks noChangeAspect="1"/>
          </p:cNvPicPr>
          <p:nvPr/>
        </p:nvPicPr>
        <p:blipFill rotWithShape="1">
          <a:blip r:embed="rId3" cstate="print">
            <a:extLst>
              <a:ext uri="{28A0092B-C50C-407E-A947-70E740481C1C}">
                <a14:useLocalDpi xmlns:a14="http://schemas.microsoft.com/office/drawing/2010/main" val="0"/>
              </a:ext>
            </a:extLst>
          </a:blip>
          <a:srcRect l="-120"/>
          <a:stretch/>
        </p:blipFill>
        <p:spPr>
          <a:xfrm>
            <a:off x="663191" y="874206"/>
            <a:ext cx="10878159" cy="5194998"/>
          </a:xfrm>
          <a:prstGeom prst="rect">
            <a:avLst/>
          </a:prstGeom>
        </p:spPr>
      </p:pic>
      <p:sp>
        <p:nvSpPr>
          <p:cNvPr id="11" name="正方形/長方形 10"/>
          <p:cNvSpPr/>
          <p:nvPr/>
        </p:nvSpPr>
        <p:spPr bwMode="white">
          <a:xfrm>
            <a:off x="581279" y="770742"/>
            <a:ext cx="11059220" cy="5402331"/>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正方形/長方形 2"/>
          <p:cNvSpPr/>
          <p:nvPr/>
        </p:nvSpPr>
        <p:spPr>
          <a:xfrm>
            <a:off x="731941" y="977846"/>
            <a:ext cx="10545659" cy="5131955"/>
          </a:xfrm>
          <a:prstGeom prst="rect">
            <a:avLst/>
          </a:prstGeom>
        </p:spPr>
        <p:txBody>
          <a:bodyPr wrap="none" lIns="108000" tIns="0" rIns="108000" bIns="0" numCol="1">
            <a:noAutofit/>
          </a:bodyPr>
          <a:lstStyle/>
          <a:p>
            <a:r>
              <a:rPr lang="ja-JP" altLang="en-US" sz="2400" b="1" dirty="0" smtClean="0">
                <a:solidFill>
                  <a:srgbClr val="33328B"/>
                </a:solidFill>
                <a:latin typeface="Meiryo UI" panose="020B0604030504040204" pitchFamily="50" charset="-128"/>
                <a:ea typeface="Meiryo UI" panose="020B0604030504040204" pitchFamily="50" charset="-128"/>
              </a:rPr>
              <a:t>１</a:t>
            </a:r>
            <a:r>
              <a:rPr lang="en-US" altLang="ja-JP" sz="2400" b="1" dirty="0" smtClean="0">
                <a:solidFill>
                  <a:srgbClr val="33328B"/>
                </a:solidFill>
                <a:latin typeface="Meiryo UI" panose="020B0604030504040204" pitchFamily="50" charset="-128"/>
                <a:ea typeface="Meiryo UI" panose="020B0604030504040204" pitchFamily="50" charset="-128"/>
              </a:rPr>
              <a:t>. Osaka Metro</a:t>
            </a:r>
            <a:r>
              <a:rPr lang="ja-JP" altLang="en-US" sz="2400" b="1" dirty="0" smtClean="0">
                <a:solidFill>
                  <a:srgbClr val="33328B"/>
                </a:solidFill>
                <a:latin typeface="Meiryo UI" panose="020B0604030504040204" pitchFamily="50" charset="-128"/>
                <a:ea typeface="Meiryo UI" panose="020B0604030504040204" pitchFamily="50" charset="-128"/>
              </a:rPr>
              <a:t>中期経営計画で示す将来像</a:t>
            </a:r>
            <a:endParaRPr lang="en-US" altLang="ja-JP" sz="2400" b="1" dirty="0" smtClean="0">
              <a:solidFill>
                <a:srgbClr val="33328B"/>
              </a:solidFill>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a:t>
            </a:r>
            <a:r>
              <a:rPr lang="en-US" altLang="ja-JP" dirty="0" smtClean="0">
                <a:latin typeface="Meiryo UI" panose="020B0604030504040204" pitchFamily="50" charset="-128"/>
                <a:ea typeface="Meiryo UI" panose="020B0604030504040204" pitchFamily="50" charset="-128"/>
              </a:rPr>
              <a:t>1-1. </a:t>
            </a:r>
            <a:r>
              <a:rPr lang="ja-JP" altLang="en-US" dirty="0" smtClean="0">
                <a:latin typeface="Meiryo UI" panose="020B0604030504040204" pitchFamily="50" charset="-128"/>
                <a:ea typeface="Meiryo UI" panose="020B0604030504040204" pitchFamily="50" charset="-128"/>
              </a:rPr>
              <a:t>中期経営計画～基本方針</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a:t>
            </a:r>
            <a:r>
              <a:rPr lang="en-US" altLang="ja-JP" dirty="0" smtClean="0">
                <a:latin typeface="Meiryo UI" panose="020B0604030504040204" pitchFamily="50" charset="-128"/>
                <a:ea typeface="Meiryo UI" panose="020B0604030504040204" pitchFamily="50" charset="-128"/>
              </a:rPr>
              <a:t>1-2. </a:t>
            </a:r>
            <a:r>
              <a:rPr lang="ja-JP" altLang="en-US" dirty="0" smtClean="0">
                <a:latin typeface="Meiryo UI" panose="020B0604030504040204" pitchFamily="50" charset="-128"/>
                <a:ea typeface="Meiryo UI" panose="020B0604030504040204" pitchFamily="50" charset="-128"/>
              </a:rPr>
              <a:t>中期</a:t>
            </a:r>
            <a:r>
              <a:rPr lang="ja-JP" altLang="en-US" dirty="0">
                <a:latin typeface="Meiryo UI" panose="020B0604030504040204" pitchFamily="50" charset="-128"/>
                <a:ea typeface="Meiryo UI" panose="020B0604030504040204" pitchFamily="50" charset="-128"/>
              </a:rPr>
              <a:t>経営計画</a:t>
            </a:r>
            <a:r>
              <a:rPr lang="ja-JP" altLang="en-US" dirty="0" smtClean="0">
                <a:latin typeface="Meiryo UI" panose="020B0604030504040204" pitchFamily="50" charset="-128"/>
                <a:ea typeface="Meiryo UI" panose="020B0604030504040204" pitchFamily="50" charset="-128"/>
              </a:rPr>
              <a:t>～戦略骨子（重点テーマ）</a:t>
            </a:r>
            <a:endParaRPr lang="en-US" altLang="ja-JP" dirty="0" smtClean="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a:t>
            </a:r>
            <a:r>
              <a:rPr lang="ja-JP" altLang="en-US" dirty="0" smtClean="0">
                <a:latin typeface="Meiryo UI" panose="020B0604030504040204" pitchFamily="50" charset="-128"/>
                <a:ea typeface="Meiryo UI" panose="020B0604030504040204" pitchFamily="50" charset="-128"/>
              </a:rPr>
              <a:t>　 </a:t>
            </a:r>
            <a:r>
              <a:rPr lang="en-US" altLang="ja-JP" dirty="0" smtClean="0">
                <a:latin typeface="Meiryo UI" panose="020B0604030504040204" pitchFamily="50" charset="-128"/>
                <a:ea typeface="Meiryo UI" panose="020B0604030504040204" pitchFamily="50" charset="-128"/>
              </a:rPr>
              <a:t>1-3. </a:t>
            </a:r>
            <a:r>
              <a:rPr lang="ja-JP" altLang="en-US" dirty="0">
                <a:latin typeface="Meiryo UI" panose="020B0604030504040204" pitchFamily="50" charset="-128"/>
                <a:ea typeface="Meiryo UI" panose="020B0604030504040204" pitchFamily="50" charset="-128"/>
              </a:rPr>
              <a:t>現状</a:t>
            </a:r>
            <a:r>
              <a:rPr lang="ja-JP" altLang="en-US" dirty="0" smtClean="0">
                <a:latin typeface="Meiryo UI" panose="020B0604030504040204" pitchFamily="50" charset="-128"/>
                <a:ea typeface="Meiryo UI" panose="020B0604030504040204" pitchFamily="50" charset="-128"/>
              </a:rPr>
              <a:t>と目指す姿</a:t>
            </a:r>
            <a:endParaRPr lang="en-US" altLang="ja-JP" dirty="0">
              <a:latin typeface="Meiryo UI" panose="020B0604030504040204" pitchFamily="50" charset="-128"/>
              <a:ea typeface="Meiryo UI" panose="020B0604030504040204" pitchFamily="50" charset="-128"/>
            </a:endParaRPr>
          </a:p>
          <a:p>
            <a:endParaRPr lang="en-US" altLang="ja-JP" sz="2000" dirty="0" smtClean="0">
              <a:latin typeface="Meiryo UI" panose="020B0604030504040204" pitchFamily="50" charset="-128"/>
              <a:ea typeface="Meiryo UI" panose="020B0604030504040204" pitchFamily="50" charset="-128"/>
            </a:endParaRPr>
          </a:p>
          <a:p>
            <a:r>
              <a:rPr lang="ja-JP" altLang="en-US" sz="2400" b="1" dirty="0" smtClean="0">
                <a:solidFill>
                  <a:srgbClr val="33328B"/>
                </a:solidFill>
                <a:latin typeface="Meiryo UI" panose="020B0604030504040204" pitchFamily="50" charset="-128"/>
                <a:ea typeface="Meiryo UI" panose="020B0604030504040204" pitchFamily="50" charset="-128"/>
              </a:rPr>
              <a:t>２</a:t>
            </a:r>
            <a:r>
              <a:rPr lang="en-US" altLang="ja-JP" sz="2400" b="1" dirty="0" smtClean="0">
                <a:solidFill>
                  <a:srgbClr val="33328B"/>
                </a:solidFill>
                <a:latin typeface="Meiryo UI" panose="020B0604030504040204" pitchFamily="50" charset="-128"/>
                <a:ea typeface="Meiryo UI" panose="020B0604030504040204" pitchFamily="50" charset="-128"/>
              </a:rPr>
              <a:t>.</a:t>
            </a:r>
            <a:r>
              <a:rPr lang="ja-JP" altLang="en-US" sz="2400" b="1" dirty="0" smtClean="0">
                <a:solidFill>
                  <a:srgbClr val="33328B"/>
                </a:solidFill>
                <a:latin typeface="Meiryo UI" panose="020B0604030504040204" pitchFamily="50" charset="-128"/>
                <a:ea typeface="Meiryo UI" panose="020B0604030504040204" pitchFamily="50" charset="-128"/>
              </a:rPr>
              <a:t>あたらしい交通の形としての</a:t>
            </a:r>
            <a:r>
              <a:rPr lang="en-US" altLang="ja-JP" sz="2400" b="1" dirty="0" err="1" smtClean="0">
                <a:solidFill>
                  <a:srgbClr val="33328B"/>
                </a:solidFill>
                <a:latin typeface="Meiryo UI" panose="020B0604030504040204" pitchFamily="50" charset="-128"/>
                <a:ea typeface="Meiryo UI" panose="020B0604030504040204" pitchFamily="50" charset="-128"/>
              </a:rPr>
              <a:t>MaaS</a:t>
            </a:r>
            <a:r>
              <a:rPr lang="ja-JP" altLang="en-US" sz="2400" b="1" dirty="0" err="1" smtClean="0">
                <a:solidFill>
                  <a:srgbClr val="33328B"/>
                </a:solidFill>
                <a:latin typeface="Meiryo UI" panose="020B0604030504040204" pitchFamily="50" charset="-128"/>
                <a:ea typeface="Meiryo UI" panose="020B0604030504040204" pitchFamily="50" charset="-128"/>
              </a:rPr>
              <a:t>への</a:t>
            </a:r>
            <a:r>
              <a:rPr lang="ja-JP" altLang="en-US" sz="2400" b="1" dirty="0" smtClean="0">
                <a:solidFill>
                  <a:srgbClr val="33328B"/>
                </a:solidFill>
                <a:latin typeface="Meiryo UI" panose="020B0604030504040204" pitchFamily="50" charset="-128"/>
                <a:ea typeface="Meiryo UI" panose="020B0604030504040204" pitchFamily="50" charset="-128"/>
              </a:rPr>
              <a:t>取組み</a:t>
            </a:r>
            <a:endParaRPr lang="en-US" altLang="ja-JP" sz="2400" b="1" dirty="0" smtClean="0">
              <a:solidFill>
                <a:srgbClr val="33328B"/>
              </a:solidFill>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　　 </a:t>
            </a:r>
            <a:r>
              <a:rPr lang="en-US" altLang="ja-JP" dirty="0" smtClean="0">
                <a:latin typeface="Meiryo UI" panose="020B0604030504040204" pitchFamily="50" charset="-128"/>
                <a:ea typeface="Meiryo UI" panose="020B0604030504040204" pitchFamily="50" charset="-128"/>
              </a:rPr>
              <a:t>2-1. </a:t>
            </a:r>
            <a:r>
              <a:rPr lang="en-US" altLang="ja-JP" dirty="0" err="1" smtClean="0">
                <a:latin typeface="Meiryo UI" panose="020B0604030504040204" pitchFamily="50" charset="-128"/>
                <a:ea typeface="Meiryo UI" panose="020B0604030504040204" pitchFamily="50" charset="-128"/>
              </a:rPr>
              <a:t>MaaS</a:t>
            </a:r>
            <a:r>
              <a:rPr lang="ja-JP" altLang="en-US" dirty="0" smtClean="0">
                <a:latin typeface="Meiryo UI" panose="020B0604030504040204" pitchFamily="50" charset="-128"/>
                <a:ea typeface="Meiryo UI" panose="020B0604030504040204" pitchFamily="50" charset="-128"/>
              </a:rPr>
              <a:t>と</a:t>
            </a:r>
            <a:r>
              <a:rPr lang="ja-JP" altLang="en-US" dirty="0">
                <a:latin typeface="Meiryo UI" panose="020B0604030504040204" pitchFamily="50" charset="-128"/>
                <a:ea typeface="Meiryo UI" panose="020B0604030504040204" pitchFamily="50" charset="-128"/>
              </a:rPr>
              <a:t>は</a:t>
            </a:r>
            <a:endParaRPr lang="en-US" altLang="ja-JP" dirty="0" smtClean="0">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　　 </a:t>
            </a:r>
            <a:r>
              <a:rPr lang="en-US" altLang="ja-JP" dirty="0">
                <a:latin typeface="Meiryo UI" panose="020B0604030504040204" pitchFamily="50" charset="-128"/>
                <a:ea typeface="Meiryo UI" panose="020B0604030504040204" pitchFamily="50" charset="-128"/>
              </a:rPr>
              <a:t>2</a:t>
            </a:r>
            <a:r>
              <a:rPr lang="en-US" altLang="ja-JP" dirty="0" smtClean="0">
                <a:latin typeface="Meiryo UI" panose="020B0604030504040204" pitchFamily="50" charset="-128"/>
                <a:ea typeface="Meiryo UI" panose="020B0604030504040204" pitchFamily="50" charset="-128"/>
              </a:rPr>
              <a:t>-2.</a:t>
            </a:r>
            <a:r>
              <a:rPr lang="en-US" altLang="ja-JP" dirty="0">
                <a:latin typeface="Meiryo UI" panose="020B0604030504040204" pitchFamily="50" charset="-128"/>
                <a:ea typeface="Meiryo UI" panose="020B0604030504040204" pitchFamily="50" charset="-128"/>
              </a:rPr>
              <a:t> </a:t>
            </a:r>
            <a:r>
              <a:rPr lang="en-US" altLang="ja-JP" dirty="0" smtClean="0">
                <a:latin typeface="Meiryo UI" panose="020B0604030504040204" pitchFamily="50" charset="-128"/>
                <a:ea typeface="Meiryo UI" panose="020B0604030504040204" pitchFamily="50" charset="-128"/>
              </a:rPr>
              <a:t>Osaka</a:t>
            </a:r>
            <a:r>
              <a:rPr lang="ja-JP" altLang="en-US" dirty="0" smtClean="0">
                <a:latin typeface="Meiryo UI" panose="020B0604030504040204" pitchFamily="50" charset="-128"/>
                <a:ea typeface="Meiryo UI" panose="020B0604030504040204" pitchFamily="50" charset="-128"/>
              </a:rPr>
              <a:t> </a:t>
            </a:r>
            <a:r>
              <a:rPr lang="en-US" altLang="ja-JP" dirty="0" smtClean="0">
                <a:latin typeface="Meiryo UI" panose="020B0604030504040204" pitchFamily="50" charset="-128"/>
                <a:ea typeface="Meiryo UI" panose="020B0604030504040204" pitchFamily="50" charset="-128"/>
              </a:rPr>
              <a:t>Metro</a:t>
            </a:r>
            <a:r>
              <a:rPr lang="ja-JP" altLang="en-US" dirty="0" smtClean="0">
                <a:latin typeface="Meiryo UI" panose="020B0604030504040204" pitchFamily="50" charset="-128"/>
                <a:ea typeface="Meiryo UI" panose="020B0604030504040204" pitchFamily="50" charset="-128"/>
              </a:rPr>
              <a:t>が目指す都市型</a:t>
            </a:r>
            <a:r>
              <a:rPr lang="en-US" altLang="ja-JP" dirty="0" err="1" smtClean="0">
                <a:latin typeface="Meiryo UI" panose="020B0604030504040204" pitchFamily="50" charset="-128"/>
                <a:ea typeface="Meiryo UI" panose="020B0604030504040204" pitchFamily="50" charset="-128"/>
              </a:rPr>
              <a:t>Maa</a:t>
            </a:r>
            <a:r>
              <a:rPr lang="en-US" altLang="ja-JP" dirty="0" err="1">
                <a:latin typeface="Meiryo UI" panose="020B0604030504040204" pitchFamily="50" charset="-128"/>
                <a:ea typeface="Meiryo UI" panose="020B0604030504040204" pitchFamily="50" charset="-128"/>
              </a:rPr>
              <a:t>S</a:t>
            </a:r>
            <a:endParaRPr lang="en-US" altLang="ja-JP" dirty="0" smtClean="0">
              <a:latin typeface="Meiryo UI" panose="020B0604030504040204" pitchFamily="50" charset="-128"/>
              <a:ea typeface="Meiryo UI" panose="020B0604030504040204" pitchFamily="50" charset="-128"/>
            </a:endParaRPr>
          </a:p>
          <a:p>
            <a:endParaRPr lang="en-US" altLang="ja-JP" sz="2000" dirty="0">
              <a:latin typeface="Meiryo UI" panose="020B0604030504040204" pitchFamily="50" charset="-128"/>
              <a:ea typeface="Meiryo UI" panose="020B0604030504040204" pitchFamily="50" charset="-128"/>
            </a:endParaRPr>
          </a:p>
          <a:p>
            <a:r>
              <a:rPr lang="ja-JP" altLang="en-US" sz="2400" b="1" dirty="0" smtClean="0">
                <a:solidFill>
                  <a:srgbClr val="33328B"/>
                </a:solidFill>
                <a:latin typeface="Meiryo UI" panose="020B0604030504040204" pitchFamily="50" charset="-128"/>
                <a:ea typeface="Meiryo UI" panose="020B0604030504040204" pitchFamily="50" charset="-128"/>
              </a:rPr>
              <a:t>３</a:t>
            </a:r>
            <a:r>
              <a:rPr lang="en-US" altLang="ja-JP" sz="2400" b="1" dirty="0" smtClean="0">
                <a:solidFill>
                  <a:srgbClr val="33328B"/>
                </a:solidFill>
                <a:latin typeface="Meiryo UI" panose="020B0604030504040204" pitchFamily="50" charset="-128"/>
                <a:ea typeface="Meiryo UI" panose="020B0604030504040204" pitchFamily="50" charset="-128"/>
              </a:rPr>
              <a:t>.Osaka Metro Group</a:t>
            </a:r>
            <a:r>
              <a:rPr lang="ja-JP" altLang="en-US" sz="2400" b="1" dirty="0" smtClean="0">
                <a:solidFill>
                  <a:srgbClr val="33328B"/>
                </a:solidFill>
                <a:latin typeface="Meiryo UI" panose="020B0604030504040204" pitchFamily="50" charset="-128"/>
                <a:ea typeface="Meiryo UI" panose="020B0604030504040204" pitchFamily="50" charset="-128"/>
              </a:rPr>
              <a:t>の考えるスマートシティモデル</a:t>
            </a:r>
            <a:endParaRPr lang="en-US" altLang="ja-JP" sz="2200" b="1" dirty="0">
              <a:solidFill>
                <a:srgbClr val="33328B"/>
              </a:solidFill>
              <a:latin typeface="Meiryo UI" panose="020B0604030504040204" pitchFamily="50" charset="-128"/>
              <a:ea typeface="Meiryo UI" panose="020B0604030504040204" pitchFamily="50" charset="-128"/>
            </a:endParaRPr>
          </a:p>
          <a:p>
            <a:r>
              <a:rPr lang="ja-JP" altLang="en-US" dirty="0" smtClean="0">
                <a:latin typeface="Meiryo UI" panose="020B0604030504040204" pitchFamily="50" charset="-128"/>
                <a:ea typeface="Meiryo UI" panose="020B0604030504040204" pitchFamily="50" charset="-128"/>
              </a:rPr>
              <a:t>　　 </a:t>
            </a:r>
            <a:r>
              <a:rPr lang="en-US" altLang="ja-JP" dirty="0">
                <a:latin typeface="Meiryo UI" panose="020B0604030504040204" pitchFamily="50" charset="-128"/>
                <a:ea typeface="Meiryo UI" panose="020B0604030504040204" pitchFamily="50" charset="-128"/>
              </a:rPr>
              <a:t>3</a:t>
            </a:r>
            <a:r>
              <a:rPr lang="en-US" altLang="ja-JP" dirty="0" smtClean="0">
                <a:latin typeface="Meiryo UI" panose="020B0604030504040204" pitchFamily="50" charset="-128"/>
                <a:ea typeface="Meiryo UI" panose="020B0604030504040204" pitchFamily="50" charset="-128"/>
              </a:rPr>
              <a:t>-1.</a:t>
            </a:r>
            <a:r>
              <a:rPr lang="ja-JP" altLang="en-US" dirty="0" smtClean="0">
                <a:latin typeface="Meiryo UI" panose="020B0604030504040204" pitchFamily="50" charset="-128"/>
                <a:ea typeface="Meiryo UI" panose="020B0604030504040204" pitchFamily="50" charset="-128"/>
              </a:rPr>
              <a:t>　</a:t>
            </a:r>
            <a:r>
              <a:rPr lang="en-US" altLang="ja-JP" dirty="0" smtClean="0">
                <a:latin typeface="Meiryo UI" panose="020B0604030504040204" pitchFamily="50" charset="-128"/>
                <a:ea typeface="Meiryo UI" panose="020B0604030504040204" pitchFamily="50" charset="-128"/>
              </a:rPr>
              <a:t>Osaka Metro</a:t>
            </a:r>
            <a:r>
              <a:rPr lang="ja-JP" altLang="en-US" dirty="0" smtClean="0">
                <a:latin typeface="Meiryo UI" panose="020B0604030504040204" pitchFamily="50" charset="-128"/>
                <a:ea typeface="Meiryo UI" panose="020B0604030504040204" pitchFamily="50" charset="-128"/>
              </a:rPr>
              <a:t>　</a:t>
            </a:r>
            <a:r>
              <a:rPr lang="en-US" altLang="ja-JP" dirty="0" smtClean="0">
                <a:latin typeface="Meiryo UI" panose="020B0604030504040204" pitchFamily="50" charset="-128"/>
                <a:ea typeface="Meiryo UI" panose="020B0604030504040204" pitchFamily="50" charset="-128"/>
              </a:rPr>
              <a:t>Group</a:t>
            </a:r>
            <a:r>
              <a:rPr lang="ja-JP" altLang="en-US" dirty="0" smtClean="0">
                <a:latin typeface="Meiryo UI" panose="020B0604030504040204" pitchFamily="50" charset="-128"/>
                <a:ea typeface="Meiryo UI" panose="020B0604030504040204" pitchFamily="50" charset="-128"/>
              </a:rPr>
              <a:t>が考えるスマートシティモデル</a:t>
            </a:r>
            <a:endParaRPr lang="en-US" altLang="ja-JP" dirty="0" smtClean="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sz="2400" b="1" dirty="0" smtClean="0">
                <a:solidFill>
                  <a:srgbClr val="33328B"/>
                </a:solidFill>
                <a:latin typeface="Meiryo UI" panose="020B0604030504040204" pitchFamily="50" charset="-128"/>
                <a:ea typeface="Meiryo UI" panose="020B0604030504040204" pitchFamily="50" charset="-128"/>
              </a:rPr>
              <a:t>４</a:t>
            </a:r>
            <a:r>
              <a:rPr lang="en-US" altLang="ja-JP" sz="2400" b="1" dirty="0" smtClean="0">
                <a:solidFill>
                  <a:srgbClr val="33328B"/>
                </a:solidFill>
                <a:latin typeface="Meiryo UI" panose="020B0604030504040204" pitchFamily="50" charset="-128"/>
                <a:ea typeface="Meiryo UI" panose="020B0604030504040204" pitchFamily="50" charset="-128"/>
              </a:rPr>
              <a:t>.</a:t>
            </a:r>
            <a:r>
              <a:rPr lang="ja-JP" altLang="en-US" sz="2400" b="1" dirty="0" smtClean="0">
                <a:solidFill>
                  <a:srgbClr val="33328B"/>
                </a:solidFill>
                <a:latin typeface="Meiryo UI" panose="020B0604030504040204" pitchFamily="50" charset="-128"/>
                <a:ea typeface="Meiryo UI" panose="020B0604030504040204" pitchFamily="50" charset="-128"/>
              </a:rPr>
              <a:t>（紹介）現在実施している取組事例</a:t>
            </a:r>
            <a:endParaRPr lang="en-US" altLang="ja-JP" sz="2400" b="1" dirty="0">
              <a:solidFill>
                <a:srgbClr val="33328B"/>
              </a:solidFill>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a:t>
            </a:r>
            <a:r>
              <a:rPr lang="ja-JP" altLang="en-US" dirty="0" smtClean="0">
                <a:latin typeface="Meiryo UI" panose="020B0604030504040204" pitchFamily="50" charset="-128"/>
                <a:ea typeface="Meiryo UI" panose="020B0604030504040204" pitchFamily="50" charset="-128"/>
              </a:rPr>
              <a:t> </a:t>
            </a:r>
            <a:r>
              <a:rPr lang="en-US" altLang="ja-JP" dirty="0" smtClean="0">
                <a:latin typeface="Meiryo UI" panose="020B0604030504040204" pitchFamily="50" charset="-128"/>
                <a:ea typeface="Meiryo UI" panose="020B0604030504040204" pitchFamily="50" charset="-128"/>
              </a:rPr>
              <a:t>4-1.</a:t>
            </a:r>
            <a:r>
              <a:rPr lang="ja-JP" altLang="en-US" dirty="0" smtClean="0">
                <a:latin typeface="Meiryo UI" panose="020B0604030504040204" pitchFamily="50" charset="-128"/>
                <a:ea typeface="Meiryo UI" panose="020B0604030504040204" pitchFamily="50" charset="-128"/>
              </a:rPr>
              <a:t>　</a:t>
            </a:r>
            <a:r>
              <a:rPr lang="en-US" altLang="ja-JP" dirty="0" smtClean="0">
                <a:latin typeface="Meiryo UI" panose="020B0604030504040204" pitchFamily="50" charset="-128"/>
                <a:ea typeface="Meiryo UI" panose="020B0604030504040204" pitchFamily="50" charset="-128"/>
              </a:rPr>
              <a:t>ICT</a:t>
            </a:r>
            <a:r>
              <a:rPr lang="ja-JP" altLang="en-US" dirty="0" smtClean="0">
                <a:latin typeface="Meiryo UI" panose="020B0604030504040204" pitchFamily="50" charset="-128"/>
                <a:ea typeface="Meiryo UI" panose="020B0604030504040204" pitchFamily="50" charset="-128"/>
              </a:rPr>
              <a:t>サービスの普及例・・・顔認証による自動改札システム</a:t>
            </a:r>
            <a:endParaRPr lang="en-US" altLang="ja-JP" dirty="0" smtClean="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a:t>
            </a:r>
            <a:r>
              <a:rPr lang="ja-JP" altLang="en-US" dirty="0" smtClean="0">
                <a:latin typeface="Meiryo UI" panose="020B0604030504040204" pitchFamily="50" charset="-128"/>
                <a:ea typeface="Meiryo UI" panose="020B0604030504040204" pitchFamily="50" charset="-128"/>
              </a:rPr>
              <a:t>　 </a:t>
            </a:r>
            <a:r>
              <a:rPr lang="en-US" altLang="ja-JP" dirty="0" smtClean="0">
                <a:latin typeface="Meiryo UI" panose="020B0604030504040204" pitchFamily="50" charset="-128"/>
                <a:ea typeface="Meiryo UI" panose="020B0604030504040204" pitchFamily="50" charset="-128"/>
              </a:rPr>
              <a:t>4-2</a:t>
            </a:r>
            <a:r>
              <a:rPr lang="ja-JP" altLang="en-US" dirty="0" err="1" smtClean="0">
                <a:latin typeface="Meiryo UI" panose="020B0604030504040204" pitchFamily="50" charset="-128"/>
                <a:ea typeface="Meiryo UI" panose="020B0604030504040204" pitchFamily="50" charset="-128"/>
              </a:rPr>
              <a:t>．</a:t>
            </a:r>
            <a:r>
              <a:rPr lang="ja-JP" altLang="en-US" dirty="0" smtClean="0">
                <a:latin typeface="Meiryo UI" panose="020B0604030504040204" pitchFamily="50" charset="-128"/>
                <a:ea typeface="Meiryo UI" panose="020B0604030504040204" pitchFamily="50" charset="-128"/>
              </a:rPr>
              <a:t>駅の大規模リニューアルの取組み</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p:txBody>
      </p:sp>
      <p:sp>
        <p:nvSpPr>
          <p:cNvPr id="14" name="タイトル 13"/>
          <p:cNvSpPr>
            <a:spLocks noGrp="1"/>
          </p:cNvSpPr>
          <p:nvPr>
            <p:ph type="title"/>
          </p:nvPr>
        </p:nvSpPr>
        <p:spPr/>
        <p:txBody>
          <a:bodyPr/>
          <a:lstStyle/>
          <a:p>
            <a:r>
              <a:rPr lang="ja-JP" altLang="en-US" smtClean="0"/>
              <a:t>目次</a:t>
            </a:r>
            <a:endParaRPr lang="ja-JP" altLang="en-US" dirty="0"/>
          </a:p>
        </p:txBody>
      </p:sp>
    </p:spTree>
    <p:extLst>
      <p:ext uri="{BB962C8B-B14F-4D97-AF65-F5344CB8AC3E}">
        <p14:creationId xmlns:p14="http://schemas.microsoft.com/office/powerpoint/2010/main" val="33036538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p:txBody>
          <a:bodyPr/>
          <a:lstStyle/>
          <a:p>
            <a:r>
              <a:rPr lang="en-US" altLang="ja-JP" dirty="0" smtClean="0">
                <a:solidFill>
                  <a:schemeClr val="tx1"/>
                </a:solidFill>
                <a:latin typeface="Meiryo UI" panose="020B0604030504040204" pitchFamily="50" charset="-128"/>
              </a:rPr>
              <a:t>1-1</a:t>
            </a:r>
            <a:r>
              <a:rPr lang="ja-JP" altLang="en-US" dirty="0" smtClean="0">
                <a:solidFill>
                  <a:schemeClr val="tx1"/>
                </a:solidFill>
                <a:latin typeface="Meiryo UI" panose="020B0604030504040204" pitchFamily="50" charset="-128"/>
              </a:rPr>
              <a:t>　</a:t>
            </a:r>
            <a:r>
              <a:rPr lang="en-US" altLang="ja-JP" dirty="0" smtClean="0">
                <a:solidFill>
                  <a:schemeClr val="tx1"/>
                </a:solidFill>
                <a:latin typeface="Meiryo UI" panose="020B0604030504040204" pitchFamily="50" charset="-128"/>
              </a:rPr>
              <a:t>Osaka</a:t>
            </a:r>
            <a:r>
              <a:rPr lang="ja-JP" altLang="en-US" dirty="0" smtClean="0">
                <a:solidFill>
                  <a:schemeClr val="tx1"/>
                </a:solidFill>
                <a:latin typeface="Meiryo UI" panose="020B0604030504040204" pitchFamily="50" charset="-128"/>
              </a:rPr>
              <a:t> </a:t>
            </a:r>
            <a:r>
              <a:rPr lang="en-US" altLang="ja-JP" dirty="0" smtClean="0">
                <a:solidFill>
                  <a:schemeClr val="tx1"/>
                </a:solidFill>
                <a:latin typeface="Meiryo UI" panose="020B0604030504040204" pitchFamily="50" charset="-128"/>
              </a:rPr>
              <a:t>Metro</a:t>
            </a:r>
            <a:r>
              <a:rPr lang="ja-JP" altLang="en-US" dirty="0" smtClean="0">
                <a:solidFill>
                  <a:schemeClr val="tx1"/>
                </a:solidFill>
                <a:latin typeface="Meiryo UI" panose="020B0604030504040204" pitchFamily="50" charset="-128"/>
              </a:rPr>
              <a:t>中期経営計画　基本方針</a:t>
            </a:r>
            <a:endParaRPr kumimoji="1" lang="ja-JP" altLang="en-US" dirty="0">
              <a:solidFill>
                <a:schemeClr val="tx1"/>
              </a:solidFill>
              <a:latin typeface="Meiryo UI" panose="020B0604030504040204" pitchFamily="50" charset="-128"/>
            </a:endParaRPr>
          </a:p>
        </p:txBody>
      </p:sp>
      <p:sp>
        <p:nvSpPr>
          <p:cNvPr id="6" name="Subtitle 2"/>
          <p:cNvSpPr>
            <a:spLocks noGrp="1"/>
          </p:cNvSpPr>
          <p:nvPr>
            <p:ph type="subTitle" idx="1"/>
          </p:nvPr>
        </p:nvSpPr>
        <p:spPr>
          <a:solidFill>
            <a:srgbClr val="33328B"/>
          </a:solidFill>
        </p:spPr>
        <p:txBody>
          <a:bodyPr/>
          <a:lstStyle/>
          <a:p>
            <a:pPr marL="185738" indent="-185738">
              <a:spcBef>
                <a:spcPts val="0"/>
              </a:spcBef>
              <a:buClr>
                <a:srgbClr val="969696"/>
              </a:buClr>
              <a:buSzPct val="80000"/>
              <a:defRPr/>
            </a:pPr>
            <a:r>
              <a:rPr kumimoji="0" lang="ja-JP" altLang="en-US" smtClean="0">
                <a:latin typeface="Meiryo UI" panose="020B0604030504040204" pitchFamily="50" charset="-128"/>
              </a:rPr>
              <a:t>民営化プランの趣旨に則り、大阪の新たな発展ステージへの貢献を目指し、かつ、万博成功を見据え、  </a:t>
            </a:r>
            <a:endParaRPr kumimoji="0" lang="en-US" altLang="ja-JP" smtClean="0">
              <a:latin typeface="Meiryo UI" panose="020B0604030504040204" pitchFamily="50" charset="-128"/>
            </a:endParaRPr>
          </a:p>
          <a:p>
            <a:pPr marL="185738" indent="-185738">
              <a:spcBef>
                <a:spcPts val="0"/>
              </a:spcBef>
              <a:buClr>
                <a:srgbClr val="969696"/>
              </a:buClr>
              <a:buSzPct val="80000"/>
              <a:defRPr/>
            </a:pPr>
            <a:r>
              <a:rPr kumimoji="0" lang="ja-JP" altLang="en-US" smtClean="0">
                <a:latin typeface="Meiryo UI" panose="020B0604030504040204" pitchFamily="50" charset="-128"/>
              </a:rPr>
              <a:t>自主自立の経営による継続的な事業成長に邁進する。</a:t>
            </a:r>
            <a:endParaRPr kumimoji="0" lang="ja-JP" altLang="en-US" dirty="0">
              <a:latin typeface="Meiryo UI" panose="020B0604030504040204" pitchFamily="50" charset="-128"/>
            </a:endParaRPr>
          </a:p>
        </p:txBody>
      </p:sp>
      <p:grpSp>
        <p:nvGrpSpPr>
          <p:cNvPr id="9" name="グループ化 8"/>
          <p:cNvGrpSpPr/>
          <p:nvPr/>
        </p:nvGrpSpPr>
        <p:grpSpPr>
          <a:xfrm>
            <a:off x="3956437" y="1679574"/>
            <a:ext cx="3165686" cy="1181892"/>
            <a:chOff x="3956437" y="1679574"/>
            <a:chExt cx="3165686" cy="1181892"/>
          </a:xfrm>
          <a:effectLst>
            <a:outerShdw blurRad="50800" dist="38100" dir="2700000" algn="tl" rotWithShape="0">
              <a:prstClr val="black">
                <a:alpha val="40000"/>
              </a:prstClr>
            </a:outerShdw>
          </a:effectLst>
        </p:grpSpPr>
        <p:sp>
          <p:nvSpPr>
            <p:cNvPr id="63" name="フリーフォーム 62"/>
            <p:cNvSpPr/>
            <p:nvPr/>
          </p:nvSpPr>
          <p:spPr bwMode="auto">
            <a:xfrm>
              <a:off x="3956437" y="1679574"/>
              <a:ext cx="3165686" cy="273199"/>
            </a:xfrm>
            <a:custGeom>
              <a:avLst/>
              <a:gdLst>
                <a:gd name="connsiteX0" fmla="*/ 197387 w 2604588"/>
                <a:gd name="connsiteY0" fmla="*/ 0 h 306788"/>
                <a:gd name="connsiteX1" fmla="*/ 2407201 w 2604588"/>
                <a:gd name="connsiteY1" fmla="*/ 0 h 306788"/>
                <a:gd name="connsiteX2" fmla="*/ 2604588 w 2604588"/>
                <a:gd name="connsiteY2" fmla="*/ 197387 h 306788"/>
                <a:gd name="connsiteX3" fmla="*/ 2604588 w 2604588"/>
                <a:gd name="connsiteY3" fmla="*/ 306788 h 306788"/>
                <a:gd name="connsiteX4" fmla="*/ 0 w 2604588"/>
                <a:gd name="connsiteY4" fmla="*/ 306788 h 306788"/>
                <a:gd name="connsiteX5" fmla="*/ 0 w 2604588"/>
                <a:gd name="connsiteY5" fmla="*/ 197387 h 306788"/>
                <a:gd name="connsiteX6" fmla="*/ 197387 w 2604588"/>
                <a:gd name="connsiteY6" fmla="*/ 0 h 306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04588" h="306788">
                  <a:moveTo>
                    <a:pt x="197387" y="0"/>
                  </a:moveTo>
                  <a:lnTo>
                    <a:pt x="2407201" y="0"/>
                  </a:lnTo>
                  <a:cubicBezTo>
                    <a:pt x="2516215" y="0"/>
                    <a:pt x="2604588" y="88373"/>
                    <a:pt x="2604588" y="197387"/>
                  </a:cubicBezTo>
                  <a:lnTo>
                    <a:pt x="2604588" y="306788"/>
                  </a:lnTo>
                  <a:lnTo>
                    <a:pt x="0" y="306788"/>
                  </a:lnTo>
                  <a:lnTo>
                    <a:pt x="0" y="197387"/>
                  </a:lnTo>
                  <a:cubicBezTo>
                    <a:pt x="0" y="88373"/>
                    <a:pt x="88373" y="0"/>
                    <a:pt x="197387" y="0"/>
                  </a:cubicBezTo>
                  <a:close/>
                </a:path>
              </a:pathLst>
            </a:custGeom>
            <a:solidFill>
              <a:schemeClr val="tx2"/>
            </a:solidFill>
            <a:ln w="28575" algn="ctr">
              <a:solidFill>
                <a:schemeClr val="tx2"/>
              </a:solidFill>
              <a:miter lim="800000"/>
              <a:headEnd/>
              <a:tailEnd/>
            </a:ln>
          </p:spPr>
          <p:txBody>
            <a:bodyPr rot="0" spcFirstLastPara="0" vertOverflow="overflow" horzOverflow="overflow" vert="horz" wrap="square" lIns="36000" tIns="36000" rIns="36000" bIns="10800" numCol="1" spcCol="0" rtlCol="0" fromWordArt="0" anchor="ctr" anchorCtr="0" forceAA="0" compatLnSpc="1">
              <a:prstTxWarp prst="textNoShape">
                <a:avLst/>
              </a:prstTxWarp>
              <a:noAutofit/>
            </a:bodyPr>
            <a:lstStyle/>
            <a:p>
              <a:pPr marL="185738" indent="-185738" algn="ctr">
                <a:buClr>
                  <a:srgbClr val="969696"/>
                </a:buClr>
                <a:buSzPct val="80000"/>
                <a:defRPr/>
              </a:pPr>
              <a:r>
                <a:rPr kumimoji="0" lang="ja-JP" altLang="en-US" sz="1400" b="1" dirty="0">
                  <a:solidFill>
                    <a:prstClr val="white"/>
                  </a:solidFill>
                  <a:latin typeface="Meiryo UI" panose="020B0604030504040204" pitchFamily="50" charset="-128"/>
                  <a:ea typeface="Meiryo UI" panose="020B0604030504040204" pitchFamily="50" charset="-128"/>
                </a:rPr>
                <a:t>企業理念</a:t>
              </a:r>
            </a:p>
          </p:txBody>
        </p:sp>
        <p:sp>
          <p:nvSpPr>
            <p:cNvPr id="60" name="フリーフォーム 59"/>
            <p:cNvSpPr/>
            <p:nvPr/>
          </p:nvSpPr>
          <p:spPr bwMode="auto">
            <a:xfrm>
              <a:off x="3956437" y="1977893"/>
              <a:ext cx="3165686" cy="883573"/>
            </a:xfrm>
            <a:custGeom>
              <a:avLst/>
              <a:gdLst>
                <a:gd name="connsiteX0" fmla="*/ 0 w 2604588"/>
                <a:gd name="connsiteY0" fmla="*/ 0 h 831793"/>
                <a:gd name="connsiteX1" fmla="*/ 2604588 w 2604588"/>
                <a:gd name="connsiteY1" fmla="*/ 0 h 831793"/>
                <a:gd name="connsiteX2" fmla="*/ 2604588 w 2604588"/>
                <a:gd name="connsiteY2" fmla="*/ 634406 h 831793"/>
                <a:gd name="connsiteX3" fmla="*/ 2407201 w 2604588"/>
                <a:gd name="connsiteY3" fmla="*/ 831793 h 831793"/>
                <a:gd name="connsiteX4" fmla="*/ 197387 w 2604588"/>
                <a:gd name="connsiteY4" fmla="*/ 831793 h 831793"/>
                <a:gd name="connsiteX5" fmla="*/ 0 w 2604588"/>
                <a:gd name="connsiteY5" fmla="*/ 634406 h 831793"/>
                <a:gd name="connsiteX6" fmla="*/ 0 w 2604588"/>
                <a:gd name="connsiteY6" fmla="*/ 0 h 831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04588" h="831793">
                  <a:moveTo>
                    <a:pt x="0" y="0"/>
                  </a:moveTo>
                  <a:lnTo>
                    <a:pt x="2604588" y="0"/>
                  </a:lnTo>
                  <a:lnTo>
                    <a:pt x="2604588" y="634406"/>
                  </a:lnTo>
                  <a:cubicBezTo>
                    <a:pt x="2604588" y="743420"/>
                    <a:pt x="2516215" y="831793"/>
                    <a:pt x="2407201" y="831793"/>
                  </a:cubicBezTo>
                  <a:lnTo>
                    <a:pt x="197387" y="831793"/>
                  </a:lnTo>
                  <a:cubicBezTo>
                    <a:pt x="88373" y="831793"/>
                    <a:pt x="0" y="743420"/>
                    <a:pt x="0" y="634406"/>
                  </a:cubicBezTo>
                  <a:lnTo>
                    <a:pt x="0" y="0"/>
                  </a:lnTo>
                  <a:close/>
                </a:path>
              </a:pathLst>
            </a:custGeom>
            <a:solidFill>
              <a:srgbClr val="EDEFF3"/>
            </a:solidFill>
            <a:ln w="28575">
              <a:solidFill>
                <a:schemeClr val="tx2"/>
              </a:solidFill>
              <a:headEnd/>
              <a:tailEn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36000" tIns="10800" rIns="36000" bIns="10800" numCol="1" spcCol="0" rtlCol="0" fromWordArt="0" anchor="ctr" anchorCtr="0" forceAA="0" compatLnSpc="1">
              <a:prstTxWarp prst="textNoShape">
                <a:avLst/>
              </a:prstTxWarp>
              <a:noAutofit/>
            </a:bodyPr>
            <a:lstStyle/>
            <a:p>
              <a:pPr marL="185738" indent="-185738" algn="ctr">
                <a:buClr>
                  <a:srgbClr val="969696"/>
                </a:buClr>
                <a:buSzPct val="80000"/>
                <a:defRPr/>
              </a:pPr>
              <a:endParaRPr kumimoji="0" lang="ja-JP" altLang="en-US" sz="1400" dirty="0">
                <a:solidFill>
                  <a:prstClr val="black"/>
                </a:solidFill>
                <a:latin typeface="Meiryo UI" panose="020B0604030504040204" pitchFamily="50" charset="-128"/>
                <a:ea typeface="Meiryo UI" panose="020B0604030504040204" pitchFamily="50" charset="-128"/>
              </a:endParaRPr>
            </a:p>
          </p:txBody>
        </p:sp>
      </p:grpSp>
      <p:cxnSp>
        <p:nvCxnSpPr>
          <p:cNvPr id="44" name="直線矢印コネクタ 43"/>
          <p:cNvCxnSpPr/>
          <p:nvPr/>
        </p:nvCxnSpPr>
        <p:spPr>
          <a:xfrm flipH="1">
            <a:off x="3125936" y="4158809"/>
            <a:ext cx="775431" cy="0"/>
          </a:xfrm>
          <a:prstGeom prst="straightConnector1">
            <a:avLst/>
          </a:prstGeom>
          <a:ln w="88900">
            <a:solidFill>
              <a:schemeClr val="tx2"/>
            </a:solidFill>
            <a:headEnd type="triangle"/>
            <a:tailEnd type="none"/>
          </a:ln>
        </p:spPr>
        <p:style>
          <a:lnRef idx="1">
            <a:schemeClr val="dk1"/>
          </a:lnRef>
          <a:fillRef idx="0">
            <a:schemeClr val="dk1"/>
          </a:fillRef>
          <a:effectRef idx="0">
            <a:schemeClr val="dk1"/>
          </a:effectRef>
          <a:fontRef idx="minor">
            <a:schemeClr val="tx1"/>
          </a:fontRef>
        </p:style>
      </p:cxnSp>
      <p:sp>
        <p:nvSpPr>
          <p:cNvPr id="59" name="フリーフォーム 58"/>
          <p:cNvSpPr/>
          <p:nvPr/>
        </p:nvSpPr>
        <p:spPr>
          <a:xfrm>
            <a:off x="2440317" y="1611960"/>
            <a:ext cx="555796" cy="1787534"/>
          </a:xfrm>
          <a:custGeom>
            <a:avLst/>
            <a:gdLst>
              <a:gd name="connsiteX0" fmla="*/ 277898 w 555796"/>
              <a:gd name="connsiteY0" fmla="*/ 0 h 1787534"/>
              <a:gd name="connsiteX1" fmla="*/ 555796 w 555796"/>
              <a:gd name="connsiteY1" fmla="*/ 1787534 h 1787534"/>
              <a:gd name="connsiteX2" fmla="*/ 0 w 555796"/>
              <a:gd name="connsiteY2" fmla="*/ 1787534 h 1787534"/>
              <a:gd name="connsiteX3" fmla="*/ 277898 w 555796"/>
              <a:gd name="connsiteY3" fmla="*/ 0 h 1787534"/>
            </a:gdLst>
            <a:ahLst/>
            <a:cxnLst>
              <a:cxn ang="0">
                <a:pos x="connsiteX0" y="connsiteY0"/>
              </a:cxn>
              <a:cxn ang="0">
                <a:pos x="connsiteX1" y="connsiteY1"/>
              </a:cxn>
              <a:cxn ang="0">
                <a:pos x="connsiteX2" y="connsiteY2"/>
              </a:cxn>
              <a:cxn ang="0">
                <a:pos x="connsiteX3" y="connsiteY3"/>
              </a:cxn>
            </a:cxnLst>
            <a:rect l="l" t="t" r="r" b="b"/>
            <a:pathLst>
              <a:path w="555796" h="1787534">
                <a:moveTo>
                  <a:pt x="277898" y="0"/>
                </a:moveTo>
                <a:lnTo>
                  <a:pt x="555796" y="1787534"/>
                </a:lnTo>
                <a:lnTo>
                  <a:pt x="0" y="1787534"/>
                </a:lnTo>
                <a:lnTo>
                  <a:pt x="277898" y="0"/>
                </a:lnTo>
                <a:close/>
              </a:path>
            </a:pathLst>
          </a:custGeom>
          <a:solidFill>
            <a:srgbClr val="44546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a:p>
        </p:txBody>
      </p:sp>
      <p:sp>
        <p:nvSpPr>
          <p:cNvPr id="56" name="フリーフォーム 55"/>
          <p:cNvSpPr/>
          <p:nvPr/>
        </p:nvSpPr>
        <p:spPr>
          <a:xfrm>
            <a:off x="2222665" y="3476878"/>
            <a:ext cx="991100" cy="1322625"/>
          </a:xfrm>
          <a:custGeom>
            <a:avLst/>
            <a:gdLst>
              <a:gd name="connsiteX0" fmla="*/ 205622 w 991100"/>
              <a:gd name="connsiteY0" fmla="*/ 0 h 1322625"/>
              <a:gd name="connsiteX1" fmla="*/ 785479 w 991100"/>
              <a:gd name="connsiteY1" fmla="*/ 0 h 1322625"/>
              <a:gd name="connsiteX2" fmla="*/ 991100 w 991100"/>
              <a:gd name="connsiteY2" fmla="*/ 1322625 h 1322625"/>
              <a:gd name="connsiteX3" fmla="*/ 0 w 991100"/>
              <a:gd name="connsiteY3" fmla="*/ 1322625 h 1322625"/>
              <a:gd name="connsiteX4" fmla="*/ 205622 w 991100"/>
              <a:gd name="connsiteY4" fmla="*/ 0 h 1322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100" h="1322625">
                <a:moveTo>
                  <a:pt x="205622" y="0"/>
                </a:moveTo>
                <a:lnTo>
                  <a:pt x="785479" y="0"/>
                </a:lnTo>
                <a:lnTo>
                  <a:pt x="991100" y="1322625"/>
                </a:lnTo>
                <a:lnTo>
                  <a:pt x="0" y="1322625"/>
                </a:lnTo>
                <a:lnTo>
                  <a:pt x="205622" y="0"/>
                </a:lnTo>
                <a:close/>
              </a:path>
            </a:pathLst>
          </a:custGeom>
          <a:solidFill>
            <a:srgbClr val="44546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a:p>
        </p:txBody>
      </p:sp>
      <p:sp>
        <p:nvSpPr>
          <p:cNvPr id="51" name="フリーフォーム 50"/>
          <p:cNvSpPr/>
          <p:nvPr/>
        </p:nvSpPr>
        <p:spPr>
          <a:xfrm>
            <a:off x="1960821" y="4876885"/>
            <a:ext cx="1514786" cy="1606880"/>
          </a:xfrm>
          <a:custGeom>
            <a:avLst/>
            <a:gdLst>
              <a:gd name="connsiteX0" fmla="*/ 249813 w 1514786"/>
              <a:gd name="connsiteY0" fmla="*/ 0 h 1606880"/>
              <a:gd name="connsiteX1" fmla="*/ 1264973 w 1514786"/>
              <a:gd name="connsiteY1" fmla="*/ 0 h 1606880"/>
              <a:gd name="connsiteX2" fmla="*/ 1514786 w 1514786"/>
              <a:gd name="connsiteY2" fmla="*/ 1606880 h 1606880"/>
              <a:gd name="connsiteX3" fmla="*/ 0 w 1514786"/>
              <a:gd name="connsiteY3" fmla="*/ 1606880 h 1606880"/>
              <a:gd name="connsiteX4" fmla="*/ 249813 w 1514786"/>
              <a:gd name="connsiteY4" fmla="*/ 0 h 1606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4786" h="1606880">
                <a:moveTo>
                  <a:pt x="249813" y="0"/>
                </a:moveTo>
                <a:lnTo>
                  <a:pt x="1264973" y="0"/>
                </a:lnTo>
                <a:lnTo>
                  <a:pt x="1514786" y="1606880"/>
                </a:lnTo>
                <a:lnTo>
                  <a:pt x="0" y="1606880"/>
                </a:lnTo>
                <a:lnTo>
                  <a:pt x="249813" y="0"/>
                </a:lnTo>
                <a:close/>
              </a:path>
            </a:pathLst>
          </a:custGeom>
          <a:solidFill>
            <a:srgbClr val="44546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a:p>
        </p:txBody>
      </p:sp>
      <p:sp>
        <p:nvSpPr>
          <p:cNvPr id="10" name="正方形/長方形 9"/>
          <p:cNvSpPr/>
          <p:nvPr/>
        </p:nvSpPr>
        <p:spPr bwMode="auto">
          <a:xfrm>
            <a:off x="3956437" y="2956783"/>
            <a:ext cx="6427141" cy="3520937"/>
          </a:xfrm>
          <a:prstGeom prst="rect">
            <a:avLst/>
          </a:prstGeom>
          <a:solidFill>
            <a:srgbClr val="EDEFF3"/>
          </a:solidFill>
          <a:ln w="28575" algn="ctr">
            <a:noFill/>
            <a:miter lim="800000"/>
            <a:headEnd/>
            <a:tailEnd/>
          </a:ln>
          <a:effectLst>
            <a:outerShdw blurRad="50800" dist="38100" dir="2700000" algn="tl" rotWithShape="0">
              <a:prstClr val="black">
                <a:alpha val="40000"/>
              </a:prstClr>
            </a:outerShdw>
          </a:effectLst>
        </p:spPr>
        <p:txBody>
          <a:bodyPr wrap="none" lIns="36000" tIns="10800" rIns="36000" bIns="10800" rtlCol="0" anchor="ctr"/>
          <a:lstStyle/>
          <a:p>
            <a:pPr marL="185738" indent="-185738" algn="ctr">
              <a:buClr>
                <a:srgbClr val="969696"/>
              </a:buClr>
              <a:buSzPct val="80000"/>
            </a:pPr>
            <a:endParaRPr kumimoji="0" lang="ja-JP" altLang="en-US" sz="1400" dirty="0">
              <a:latin typeface="Meiryo UI" panose="020B0604030504040204" pitchFamily="50" charset="-128"/>
              <a:ea typeface="Meiryo UI" panose="020B0604030504040204" pitchFamily="50" charset="-128"/>
            </a:endParaRPr>
          </a:p>
        </p:txBody>
      </p:sp>
      <p:sp>
        <p:nvSpPr>
          <p:cNvPr id="33" name="テキスト ボックス 32"/>
          <p:cNvSpPr txBox="1"/>
          <p:nvPr/>
        </p:nvSpPr>
        <p:spPr bwMode="white">
          <a:xfrm>
            <a:off x="2087273" y="5545863"/>
            <a:ext cx="1261884" cy="307777"/>
          </a:xfrm>
          <a:prstGeom prst="rect">
            <a:avLst/>
          </a:prstGeom>
          <a:noFill/>
        </p:spPr>
        <p:txBody>
          <a:bodyPr wrap="none" rtlCol="0">
            <a:spAutoFit/>
          </a:bodyPr>
          <a:lstStyle/>
          <a:p>
            <a:pPr>
              <a:defRPr/>
            </a:pPr>
            <a:r>
              <a:rPr lang="ja-JP" altLang="en-US" sz="1400" b="1" dirty="0">
                <a:solidFill>
                  <a:prstClr val="white"/>
                </a:solidFill>
                <a:latin typeface="Meiryo UI" panose="020B0604030504040204" pitchFamily="50" charset="-128"/>
                <a:ea typeface="Meiryo UI" panose="020B0604030504040204" pitchFamily="50" charset="-128"/>
              </a:rPr>
              <a:t>年次事業計画</a:t>
            </a:r>
          </a:p>
        </p:txBody>
      </p:sp>
      <p:sp>
        <p:nvSpPr>
          <p:cNvPr id="35" name="角丸四角形 34"/>
          <p:cNvSpPr/>
          <p:nvPr/>
        </p:nvSpPr>
        <p:spPr bwMode="auto">
          <a:xfrm>
            <a:off x="2057424" y="3929500"/>
            <a:ext cx="1321583" cy="470605"/>
          </a:xfrm>
          <a:prstGeom prst="roundRect">
            <a:avLst/>
          </a:prstGeom>
          <a:solidFill>
            <a:schemeClr val="accent2">
              <a:lumMod val="40000"/>
              <a:lumOff val="60000"/>
            </a:schemeClr>
          </a:solidFill>
          <a:ln w="38100" algn="ctr">
            <a:solidFill>
              <a:schemeClr val="tx2"/>
            </a:solidFill>
            <a:miter lim="800000"/>
            <a:headEnd/>
            <a:tailEnd/>
          </a:ln>
        </p:spPr>
        <p:txBody>
          <a:bodyPr wrap="none" lIns="36000" tIns="10800" rIns="36000" bIns="10800" rtlCol="0" anchor="ctr"/>
          <a:lstStyle/>
          <a:p>
            <a:pPr marL="185738" indent="-185738" algn="ctr">
              <a:buClr>
                <a:srgbClr val="969696"/>
              </a:buClr>
              <a:buSzPct val="80000"/>
              <a:defRPr/>
            </a:pPr>
            <a:r>
              <a:rPr kumimoji="0" lang="ja-JP" altLang="en-US" sz="1400" b="1" dirty="0">
                <a:solidFill>
                  <a:prstClr val="black"/>
                </a:solidFill>
                <a:latin typeface="Meiryo UI" panose="020B0604030504040204" pitchFamily="50" charset="-128"/>
                <a:ea typeface="Meiryo UI" panose="020B0604030504040204" pitchFamily="50" charset="-128"/>
              </a:rPr>
              <a:t>中期経営計画</a:t>
            </a:r>
            <a:endParaRPr kumimoji="0" lang="en-US" altLang="ja-JP" sz="1400" b="1" dirty="0">
              <a:solidFill>
                <a:prstClr val="black"/>
              </a:solidFill>
              <a:latin typeface="Meiryo UI" panose="020B0604030504040204" pitchFamily="50" charset="-128"/>
              <a:ea typeface="Meiryo UI" panose="020B0604030504040204" pitchFamily="50" charset="-128"/>
            </a:endParaRPr>
          </a:p>
        </p:txBody>
      </p:sp>
      <p:sp>
        <p:nvSpPr>
          <p:cNvPr id="52" name="サブタイトル 5"/>
          <p:cNvSpPr txBox="1">
            <a:spLocks/>
          </p:cNvSpPr>
          <p:nvPr/>
        </p:nvSpPr>
        <p:spPr>
          <a:xfrm>
            <a:off x="4046855" y="3705225"/>
            <a:ext cx="6246284" cy="2686050"/>
          </a:xfrm>
          <a:prstGeom prst="rect">
            <a:avLst/>
          </a:prstGeom>
          <a:solidFill>
            <a:schemeClr val="tx2"/>
          </a:solidFill>
          <a:ln>
            <a:noFill/>
          </a:ln>
        </p:spPr>
        <p:txBody>
          <a:bodyPr wrap="square" lIns="54000" tIns="36000" rIns="54000" bIns="18000" anchor="t">
            <a:noAutofit/>
          </a:bodyPr>
          <a:lstStyle>
            <a:lvl1pPr marL="0" indent="36000" algn="l" defTabSz="914400" rtl="0" eaLnBrk="1" latinLnBrk="0" hangingPunct="1">
              <a:spcBef>
                <a:spcPct val="20000"/>
              </a:spcBef>
              <a:buFont typeface="Arial" pitchFamily="34" charset="0"/>
              <a:buNone/>
              <a:defRPr kumimoji="1" lang="ja-JP" altLang="en-US" sz="1800" b="1" kern="1200" baseline="0" dirty="0">
                <a:solidFill>
                  <a:schemeClr val="bg1"/>
                </a:solidFill>
                <a:latin typeface="Trebuchet MS" panose="020B0603020202020204" pitchFamily="34" charset="0"/>
                <a:ea typeface="Meiryo UI" panose="020B0604030504040204" pitchFamily="50" charset="-128"/>
                <a:cs typeface="Arial" pitchFamily="34" charset="0"/>
              </a:defRPr>
            </a:lvl1pPr>
            <a:lvl2pPr marL="457200" indent="0" algn="ctr" defTabSz="914400" rtl="0" eaLnBrk="1" latinLnBrk="0" hangingPunct="1">
              <a:spcBef>
                <a:spcPct val="20000"/>
              </a:spcBef>
              <a:buFont typeface="Arial" pitchFamily="34" charset="0"/>
              <a:buNone/>
              <a:defRPr kumimoji="1"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kumimoji="1"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kumimoji="1"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kumimoji="1"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kumimoji="1"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kumimoji="1"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kumimoji="1"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kumimoji="1" sz="2000" kern="1200">
                <a:solidFill>
                  <a:schemeClr val="tx1">
                    <a:tint val="75000"/>
                  </a:schemeClr>
                </a:solidFill>
                <a:latin typeface="+mn-lt"/>
                <a:ea typeface="+mn-ea"/>
                <a:cs typeface="+mn-cs"/>
              </a:defRPr>
            </a:lvl9pPr>
          </a:lstStyle>
          <a:p>
            <a:pPr indent="0" algn="ctr">
              <a:defRPr/>
            </a:pPr>
            <a:r>
              <a:rPr lang="ja-JP" altLang="en-US" sz="1600" dirty="0">
                <a:solidFill>
                  <a:prstClr val="white"/>
                </a:solidFill>
                <a:latin typeface="Meiryo UI" panose="020B0604030504040204" pitchFamily="50" charset="-128"/>
              </a:rPr>
              <a:t>　●徹底して社会生活インフラとしての使命を全う</a:t>
            </a:r>
            <a:endParaRPr lang="en-US" altLang="ja-JP" sz="1600" dirty="0">
              <a:latin typeface="Meiryo UI" panose="020B0604030504040204" pitchFamily="50" charset="-128"/>
            </a:endParaRPr>
          </a:p>
        </p:txBody>
      </p:sp>
      <p:sp>
        <p:nvSpPr>
          <p:cNvPr id="11" name="Rectangle 11"/>
          <p:cNvSpPr/>
          <p:nvPr/>
        </p:nvSpPr>
        <p:spPr>
          <a:xfrm>
            <a:off x="4026889" y="1988345"/>
            <a:ext cx="3082535" cy="830997"/>
          </a:xfrm>
          <a:prstGeom prst="rect">
            <a:avLst/>
          </a:prstGeom>
        </p:spPr>
        <p:txBody>
          <a:bodyPr wrap="square">
            <a:spAutoFit/>
          </a:bodyPr>
          <a:lstStyle/>
          <a:p>
            <a:pPr algn="ctr">
              <a:defRPr/>
            </a:pPr>
            <a:r>
              <a:rPr kumimoji="0" lang="ja-JP" altLang="en-US" sz="1200" b="1" dirty="0">
                <a:solidFill>
                  <a:prstClr val="black"/>
                </a:solidFill>
                <a:latin typeface="Meiryo UI" panose="020B0604030504040204" pitchFamily="50" charset="-128"/>
                <a:ea typeface="Meiryo UI" panose="020B0604030504040204" pitchFamily="50" charset="-128"/>
              </a:rPr>
              <a:t>私たちは、</a:t>
            </a:r>
            <a:r>
              <a:rPr kumimoji="0" lang="ja-JP" altLang="en-US" sz="1600" b="1" dirty="0">
                <a:solidFill>
                  <a:srgbClr val="0070C0"/>
                </a:solidFill>
                <a:latin typeface="Meiryo UI" panose="020B0604030504040204" pitchFamily="50" charset="-128"/>
                <a:ea typeface="Meiryo UI" panose="020B0604030504040204" pitchFamily="50" charset="-128"/>
              </a:rPr>
              <a:t>最高の安全・安心 </a:t>
            </a:r>
            <a:r>
              <a:rPr kumimoji="0" lang="ja-JP" altLang="en-US" sz="1200" b="1" dirty="0">
                <a:solidFill>
                  <a:srgbClr val="0070C0"/>
                </a:solidFill>
                <a:latin typeface="Meiryo UI" panose="020B0604030504040204" pitchFamily="50" charset="-128"/>
                <a:ea typeface="Meiryo UI" panose="020B0604030504040204" pitchFamily="50" charset="-128"/>
              </a:rPr>
              <a:t>を追求し</a:t>
            </a:r>
            <a:r>
              <a:rPr lang="ja-JP" altLang="en-US" sz="1200" b="1" dirty="0">
                <a:solidFill>
                  <a:srgbClr val="0070C0"/>
                </a:solidFill>
                <a:latin typeface="Meiryo UI" panose="020B0604030504040204" pitchFamily="50" charset="-128"/>
                <a:ea typeface="Meiryo UI" panose="020B0604030504040204" pitchFamily="50" charset="-128"/>
              </a:rPr>
              <a:t>、</a:t>
            </a:r>
            <a:r>
              <a:rPr kumimoji="0" lang="ja-JP" altLang="en-US" sz="1600" b="1" dirty="0">
                <a:solidFill>
                  <a:srgbClr val="0070C0"/>
                </a:solidFill>
                <a:latin typeface="Meiryo UI" panose="020B0604030504040204" pitchFamily="50" charset="-128"/>
                <a:ea typeface="Meiryo UI" panose="020B0604030504040204" pitchFamily="50" charset="-128"/>
              </a:rPr>
              <a:t>誠実さ</a:t>
            </a:r>
            <a:r>
              <a:rPr kumimoji="0" lang="ja-JP" altLang="en-US" sz="1400" b="1" dirty="0">
                <a:solidFill>
                  <a:srgbClr val="0070C0"/>
                </a:solidFill>
                <a:latin typeface="Meiryo UI" panose="020B0604030504040204" pitchFamily="50" charset="-128"/>
                <a:ea typeface="Meiryo UI" panose="020B0604030504040204" pitchFamily="50" charset="-128"/>
              </a:rPr>
              <a:t> </a:t>
            </a:r>
            <a:r>
              <a:rPr kumimoji="0" lang="ja-JP" altLang="en-US" sz="1200" b="1" dirty="0">
                <a:solidFill>
                  <a:prstClr val="black"/>
                </a:solidFill>
                <a:latin typeface="Meiryo UI" panose="020B0604030504040204" pitchFamily="50" charset="-128"/>
                <a:ea typeface="Meiryo UI" panose="020B0604030504040204" pitchFamily="50" charset="-128"/>
              </a:rPr>
              <a:t>と </a:t>
            </a:r>
            <a:r>
              <a:rPr kumimoji="0" lang="ja-JP" altLang="en-US" sz="1600" b="1" dirty="0">
                <a:solidFill>
                  <a:srgbClr val="00B050"/>
                </a:solidFill>
                <a:latin typeface="Meiryo UI" panose="020B0604030504040204" pitchFamily="50" charset="-128"/>
                <a:ea typeface="Meiryo UI" panose="020B0604030504040204" pitchFamily="50" charset="-128"/>
              </a:rPr>
              <a:t>チャレンジ精神</a:t>
            </a:r>
            <a:r>
              <a:rPr kumimoji="0" lang="ja-JP" altLang="en-US" sz="1400" b="1" dirty="0">
                <a:solidFill>
                  <a:srgbClr val="00B050"/>
                </a:solidFill>
                <a:latin typeface="Meiryo UI" panose="020B0604030504040204" pitchFamily="50" charset="-128"/>
                <a:ea typeface="Meiryo UI" panose="020B0604030504040204" pitchFamily="50" charset="-128"/>
              </a:rPr>
              <a:t> </a:t>
            </a:r>
            <a:r>
              <a:rPr kumimoji="0" lang="ja-JP" altLang="en-US" sz="1200" b="1" dirty="0">
                <a:solidFill>
                  <a:prstClr val="black"/>
                </a:solidFill>
                <a:latin typeface="Meiryo UI" panose="020B0604030504040204" pitchFamily="50" charset="-128"/>
                <a:ea typeface="Meiryo UI" panose="020B0604030504040204" pitchFamily="50" charset="-128"/>
              </a:rPr>
              <a:t>をもって、</a:t>
            </a:r>
            <a:endParaRPr kumimoji="0" lang="en-US" altLang="ja-JP" sz="1200" b="1" dirty="0">
              <a:solidFill>
                <a:prstClr val="black"/>
              </a:solidFill>
              <a:latin typeface="Meiryo UI" panose="020B0604030504040204" pitchFamily="50" charset="-128"/>
              <a:ea typeface="Meiryo UI" panose="020B0604030504040204" pitchFamily="50" charset="-128"/>
            </a:endParaRPr>
          </a:p>
          <a:p>
            <a:pPr algn="ctr">
              <a:defRPr/>
            </a:pPr>
            <a:r>
              <a:rPr kumimoji="0" lang="ja-JP" altLang="en-US" sz="1600" b="1" dirty="0">
                <a:solidFill>
                  <a:srgbClr val="00B050"/>
                </a:solidFill>
                <a:latin typeface="Meiryo UI" panose="020B0604030504040204" pitchFamily="50" charset="-128"/>
                <a:ea typeface="Meiryo UI" panose="020B0604030504040204" pitchFamily="50" charset="-128"/>
              </a:rPr>
              <a:t>大阪から元気を</a:t>
            </a:r>
            <a:r>
              <a:rPr kumimoji="0" lang="ja-JP" altLang="en-US" sz="1600" b="1" dirty="0" smtClean="0">
                <a:solidFill>
                  <a:srgbClr val="00B050"/>
                </a:solidFill>
                <a:latin typeface="Meiryo UI" panose="020B0604030504040204" pitchFamily="50" charset="-128"/>
                <a:ea typeface="Meiryo UI" panose="020B0604030504040204" pitchFamily="50" charset="-128"/>
              </a:rPr>
              <a:t>創りつづけ</a:t>
            </a:r>
            <a:r>
              <a:rPr kumimoji="0" lang="ja-JP" altLang="en-US" sz="1400" b="1" dirty="0" smtClean="0">
                <a:solidFill>
                  <a:prstClr val="black"/>
                </a:solidFill>
                <a:latin typeface="Meiryo UI" panose="020B0604030504040204" pitchFamily="50" charset="-128"/>
                <a:ea typeface="Meiryo UI" panose="020B0604030504040204" pitchFamily="50" charset="-128"/>
              </a:rPr>
              <a:t>ます</a:t>
            </a:r>
            <a:r>
              <a:rPr kumimoji="0" lang="ja-JP" altLang="en-US" sz="1200" b="1" dirty="0" smtClean="0">
                <a:solidFill>
                  <a:prstClr val="black"/>
                </a:solidFill>
                <a:latin typeface="Meiryo UI" panose="020B0604030504040204" pitchFamily="50" charset="-128"/>
                <a:ea typeface="Meiryo UI" panose="020B0604030504040204" pitchFamily="50" charset="-128"/>
              </a:rPr>
              <a:t>。</a:t>
            </a:r>
            <a:endParaRPr kumimoji="0" lang="ja-JP" altLang="en-US" sz="1200" b="1" dirty="0">
              <a:solidFill>
                <a:prstClr val="black"/>
              </a:solidFill>
              <a:latin typeface="Meiryo UI" panose="020B0604030504040204" pitchFamily="50" charset="-128"/>
              <a:ea typeface="Meiryo UI" panose="020B0604030504040204" pitchFamily="50" charset="-128"/>
            </a:endParaRPr>
          </a:p>
        </p:txBody>
      </p:sp>
      <p:sp>
        <p:nvSpPr>
          <p:cNvPr id="54" name="正方形/長方形 53"/>
          <p:cNvSpPr/>
          <p:nvPr/>
        </p:nvSpPr>
        <p:spPr bwMode="auto">
          <a:xfrm>
            <a:off x="4039589" y="3044824"/>
            <a:ext cx="6253551" cy="592147"/>
          </a:xfrm>
          <a:prstGeom prst="rect">
            <a:avLst/>
          </a:prstGeom>
          <a:solidFill>
            <a:schemeClr val="tx2"/>
          </a:solidFill>
          <a:ln w="28575" algn="ctr">
            <a:noFill/>
            <a:miter lim="800000"/>
            <a:headEnd/>
            <a:tailEnd/>
          </a:ln>
        </p:spPr>
        <p:txBody>
          <a:bodyPr wrap="none" lIns="36000" tIns="36000" rIns="36000" bIns="10800" rtlCol="0" anchor="ctr"/>
          <a:lstStyle/>
          <a:p>
            <a:pPr algn="ctr">
              <a:lnSpc>
                <a:spcPts val="2100"/>
              </a:lnSpc>
              <a:defRPr/>
            </a:pPr>
            <a:r>
              <a:rPr kumimoji="0" lang="ja-JP" altLang="en-US" sz="1600" b="1" dirty="0">
                <a:solidFill>
                  <a:prstClr val="white"/>
                </a:solidFill>
                <a:latin typeface="Meiryo UI" panose="020B0604030504040204" pitchFamily="50" charset="-128"/>
                <a:ea typeface="Meiryo UI" panose="020B0604030504040204" pitchFamily="50" charset="-128"/>
              </a:rPr>
              <a:t>３つの基本理念</a:t>
            </a:r>
            <a:endParaRPr kumimoji="0" lang="en-US" altLang="ja-JP" sz="1600" b="1" dirty="0">
              <a:solidFill>
                <a:prstClr val="white"/>
              </a:solidFill>
              <a:latin typeface="Meiryo UI" panose="020B0604030504040204" pitchFamily="50" charset="-128"/>
              <a:ea typeface="Meiryo UI" panose="020B0604030504040204" pitchFamily="50" charset="-128"/>
            </a:endParaRPr>
          </a:p>
          <a:p>
            <a:pPr algn="ctr">
              <a:lnSpc>
                <a:spcPts val="2100"/>
              </a:lnSpc>
              <a:defRPr/>
            </a:pPr>
            <a:r>
              <a:rPr kumimoji="0" lang="ja-JP" altLang="en-US" sz="1600" b="1" dirty="0" smtClean="0">
                <a:solidFill>
                  <a:prstClr val="white"/>
                </a:solidFill>
                <a:latin typeface="Meiryo UI" panose="020B0604030504040204" pitchFamily="50" charset="-128"/>
                <a:ea typeface="Meiryo UI" panose="020B0604030504040204" pitchFamily="50" charset="-128"/>
              </a:rPr>
              <a:t>➊</a:t>
            </a:r>
            <a:r>
              <a:rPr kumimoji="0" lang="ja-JP" altLang="en-US" sz="1600" b="1" dirty="0">
                <a:solidFill>
                  <a:prstClr val="white"/>
                </a:solidFill>
                <a:latin typeface="Meiryo UI" panose="020B0604030504040204" pitchFamily="50" charset="-128"/>
                <a:ea typeface="Meiryo UI" panose="020B0604030504040204" pitchFamily="50" charset="-128"/>
              </a:rPr>
              <a:t>最高の安全・安心　❷お客さま満足度の向上　➌社員満足度の向上</a:t>
            </a:r>
            <a:endParaRPr kumimoji="0" lang="en-US" altLang="ja-JP" sz="1600" b="1" dirty="0">
              <a:solidFill>
                <a:prstClr val="white"/>
              </a:solidFill>
              <a:latin typeface="Meiryo UI" panose="020B0604030504040204" pitchFamily="50" charset="-128"/>
              <a:ea typeface="Meiryo UI" panose="020B0604030504040204" pitchFamily="50" charset="-128"/>
            </a:endParaRPr>
          </a:p>
        </p:txBody>
      </p:sp>
      <p:sp>
        <p:nvSpPr>
          <p:cNvPr id="41" name="正方形/長方形 40">
            <a:extLst>
              <a:ext uri="{FF2B5EF4-FFF2-40B4-BE49-F238E27FC236}">
                <a16:creationId xmlns:a16="http://schemas.microsoft.com/office/drawing/2014/main" id="{5443A88A-9A4C-4FF1-B69F-6E5A9C7C12B2}"/>
              </a:ext>
            </a:extLst>
          </p:cNvPr>
          <p:cNvSpPr/>
          <p:nvPr/>
        </p:nvSpPr>
        <p:spPr bwMode="auto">
          <a:xfrm>
            <a:off x="4616347" y="4082415"/>
            <a:ext cx="5532777" cy="2222950"/>
          </a:xfrm>
          <a:prstGeom prst="rect">
            <a:avLst/>
          </a:prstGeom>
          <a:solidFill>
            <a:schemeClr val="bg1">
              <a:lumMod val="75000"/>
            </a:schemeClr>
          </a:solidFill>
          <a:ln w="9525" algn="ctr">
            <a:noFill/>
            <a:miter lim="800000"/>
            <a:headEnd/>
            <a:tailEnd/>
          </a:ln>
        </p:spPr>
        <p:txBody>
          <a:bodyPr vert="horz" wrap="none" lIns="36000" tIns="10800" rIns="36000" bIns="36000" rtlCol="0" anchor="b">
            <a:normAutofit/>
          </a:bodyPr>
          <a:lstStyle/>
          <a:p>
            <a:pPr>
              <a:spcBef>
                <a:spcPts val="80"/>
              </a:spcBef>
              <a:defRPr/>
            </a:pPr>
            <a:r>
              <a:rPr lang="ja-JP" altLang="en-US" sz="1400" b="1" dirty="0">
                <a:latin typeface="Meiryo UI" panose="020B0604030504040204" pitchFamily="50" charset="-128"/>
                <a:ea typeface="Meiryo UI" panose="020B0604030504040204" pitchFamily="50" charset="-128"/>
              </a:rPr>
              <a:t>　　</a:t>
            </a:r>
            <a:r>
              <a:rPr lang="en-US" altLang="ja-JP" sz="1400" b="1" dirty="0">
                <a:latin typeface="Meiryo UI" panose="020B0604030504040204" pitchFamily="50" charset="-128"/>
                <a:ea typeface="Meiryo UI" panose="020B0604030504040204" pitchFamily="50" charset="-128"/>
              </a:rPr>
              <a:t>D</a:t>
            </a:r>
            <a:r>
              <a:rPr kumimoji="0" lang="en-US" altLang="ja-JP" sz="1400" b="1" dirty="0">
                <a:latin typeface="Meiryo UI" panose="020B0604030504040204" pitchFamily="50" charset="-128"/>
                <a:ea typeface="Meiryo UI" panose="020B0604030504040204" pitchFamily="50" charset="-128"/>
              </a:rPr>
              <a:t>)</a:t>
            </a:r>
            <a:r>
              <a:rPr kumimoji="0" lang="ja-JP" altLang="en-US" sz="1400" b="1" dirty="0">
                <a:latin typeface="Meiryo UI" panose="020B0604030504040204" pitchFamily="50" charset="-128"/>
                <a:ea typeface="Meiryo UI" panose="020B0604030504040204" pitchFamily="50" charset="-128"/>
              </a:rPr>
              <a:t>　自主自立の経営を確立</a:t>
            </a:r>
            <a:endParaRPr kumimoji="0" lang="en-US" altLang="ja-JP" sz="1400" b="1" dirty="0">
              <a:latin typeface="Meiryo UI" panose="020B0604030504040204" pitchFamily="50" charset="-128"/>
              <a:ea typeface="Meiryo UI" panose="020B0604030504040204" pitchFamily="50" charset="-128"/>
            </a:endParaRPr>
          </a:p>
          <a:p>
            <a:pPr>
              <a:lnSpc>
                <a:spcPts val="1100"/>
              </a:lnSpc>
              <a:spcBef>
                <a:spcPts val="80"/>
              </a:spcBef>
              <a:defRPr/>
            </a:pPr>
            <a:r>
              <a:rPr lang="ja-JP" altLang="en-US" sz="1400" b="1" dirty="0">
                <a:latin typeface="Meiryo UI" panose="020B0604030504040204" pitchFamily="50" charset="-128"/>
                <a:ea typeface="Meiryo UI" panose="020B0604030504040204" pitchFamily="50" charset="-128"/>
              </a:rPr>
              <a:t>　　　　　</a:t>
            </a:r>
            <a:r>
              <a:rPr lang="ja-JP" altLang="en-US" sz="1400" b="1" dirty="0" smtClean="0">
                <a:latin typeface="Meiryo UI" panose="020B0604030504040204" pitchFamily="50" charset="-128"/>
                <a:ea typeface="Meiryo UI" panose="020B0604030504040204" pitchFamily="50" charset="-128"/>
              </a:rPr>
              <a:t>　</a:t>
            </a:r>
            <a:r>
              <a:rPr lang="ja-JP" altLang="en-US" sz="1200" b="1" dirty="0" smtClean="0">
                <a:latin typeface="Meiryo UI" panose="020B0604030504040204" pitchFamily="50" charset="-128"/>
                <a:ea typeface="Meiryo UI" panose="020B0604030504040204" pitchFamily="50" charset="-128"/>
              </a:rPr>
              <a:t>マトリックス</a:t>
            </a:r>
            <a:r>
              <a:rPr lang="ja-JP" altLang="en-US" sz="1200" b="1" dirty="0">
                <a:latin typeface="Meiryo UI" panose="020B0604030504040204" pitchFamily="50" charset="-128"/>
                <a:ea typeface="Meiryo UI" panose="020B0604030504040204" pitchFamily="50" charset="-128"/>
              </a:rPr>
              <a:t>経営の確立、経営管理体制の強化、意識改革・人材育成強化</a:t>
            </a:r>
            <a:endParaRPr kumimoji="0" lang="en-US" altLang="ja-JP" sz="1400" b="1" dirty="0">
              <a:latin typeface="Meiryo UI" panose="020B0604030504040204" pitchFamily="50" charset="-128"/>
              <a:ea typeface="Meiryo UI" panose="020B0604030504040204" pitchFamily="50" charset="-128"/>
            </a:endParaRPr>
          </a:p>
        </p:txBody>
      </p:sp>
      <p:sp>
        <p:nvSpPr>
          <p:cNvPr id="43" name="正方形/長方形 42">
            <a:extLst>
              <a:ext uri="{FF2B5EF4-FFF2-40B4-BE49-F238E27FC236}">
                <a16:creationId xmlns:a16="http://schemas.microsoft.com/office/drawing/2014/main" id="{65CDE637-CC98-4235-BAA4-DB4F880FB1C4}"/>
              </a:ext>
            </a:extLst>
          </p:cNvPr>
          <p:cNvSpPr/>
          <p:nvPr/>
        </p:nvSpPr>
        <p:spPr bwMode="auto">
          <a:xfrm>
            <a:off x="4779602" y="4196909"/>
            <a:ext cx="5201195" cy="1656731"/>
          </a:xfrm>
          <a:prstGeom prst="rect">
            <a:avLst/>
          </a:prstGeom>
          <a:solidFill>
            <a:schemeClr val="accent4">
              <a:lumMod val="60000"/>
              <a:lumOff val="40000"/>
            </a:schemeClr>
          </a:solidFill>
          <a:ln w="76200" algn="ctr">
            <a:solidFill>
              <a:srgbClr val="FF0000"/>
            </a:solidFill>
            <a:miter lim="800000"/>
            <a:headEnd/>
            <a:tailEnd/>
          </a:ln>
        </p:spPr>
        <p:txBody>
          <a:bodyPr vert="horz" wrap="none" lIns="36000" tIns="54000" rIns="36000" bIns="10800" rtlCol="0" anchor="t">
            <a:normAutofit/>
          </a:bodyPr>
          <a:lstStyle/>
          <a:p>
            <a:pPr>
              <a:spcBef>
                <a:spcPts val="80"/>
              </a:spcBef>
              <a:defRPr/>
            </a:pPr>
            <a:r>
              <a:rPr lang="ja-JP" altLang="en-US" sz="1400" b="1" dirty="0">
                <a:latin typeface="Meiryo UI" panose="020B0604030504040204" pitchFamily="50" charset="-128"/>
                <a:ea typeface="Meiryo UI" panose="020B0604030504040204" pitchFamily="50" charset="-128"/>
              </a:rPr>
              <a:t>　 </a:t>
            </a:r>
            <a:r>
              <a:rPr lang="en-US" altLang="ja-JP" sz="1400" b="1" dirty="0">
                <a:latin typeface="Meiryo UI" panose="020B0604030504040204" pitchFamily="50" charset="-128"/>
                <a:ea typeface="Meiryo UI" panose="020B0604030504040204" pitchFamily="50" charset="-128"/>
              </a:rPr>
              <a:t>A)</a:t>
            </a:r>
            <a:r>
              <a:rPr lang="ja-JP" altLang="en-US" sz="1400" b="1" dirty="0">
                <a:latin typeface="Meiryo UI" panose="020B0604030504040204" pitchFamily="50" charset="-128"/>
                <a:ea typeface="Meiryo UI" panose="020B0604030504040204" pitchFamily="50" charset="-128"/>
              </a:rPr>
              <a:t>　大阪の更なる発展に貢献</a:t>
            </a:r>
            <a:endParaRPr lang="en-US" altLang="ja-JP" sz="1400" b="1" dirty="0">
              <a:latin typeface="Meiryo UI" panose="020B0604030504040204" pitchFamily="50" charset="-128"/>
              <a:ea typeface="Meiryo UI" panose="020B0604030504040204" pitchFamily="50" charset="-128"/>
            </a:endParaRPr>
          </a:p>
          <a:p>
            <a:pPr>
              <a:lnSpc>
                <a:spcPts val="1100"/>
              </a:lnSpc>
              <a:spcBef>
                <a:spcPts val="80"/>
              </a:spcBef>
              <a:defRPr/>
            </a:pPr>
            <a:r>
              <a:rPr lang="ja-JP" altLang="en-US" sz="1400" b="1" dirty="0">
                <a:latin typeface="Meiryo UI" panose="020B0604030504040204" pitchFamily="50" charset="-128"/>
                <a:ea typeface="Meiryo UI" panose="020B0604030504040204" pitchFamily="50" charset="-128"/>
              </a:rPr>
              <a:t>　　　　　 </a:t>
            </a:r>
            <a:r>
              <a:rPr lang="ja-JP" altLang="en-US" sz="1200" b="1" dirty="0">
                <a:latin typeface="Meiryo UI" panose="020B0604030504040204" pitchFamily="50" charset="-128"/>
                <a:ea typeface="Meiryo UI" panose="020B0604030504040204" pitchFamily="50" charset="-128"/>
              </a:rPr>
              <a:t>活力インフラとして、</a:t>
            </a:r>
            <a:r>
              <a:rPr lang="ja-JP" altLang="ja-JP" sz="1200" b="1" dirty="0">
                <a:latin typeface="Meiryo UI" panose="020B0604030504040204" pitchFamily="50" charset="-128"/>
                <a:ea typeface="Meiryo UI" panose="020B0604030504040204" pitchFamily="50" charset="-128"/>
              </a:rPr>
              <a:t>成長戦略の推</a:t>
            </a:r>
            <a:r>
              <a:rPr lang="ja-JP" altLang="en-US" sz="1200" b="1" dirty="0">
                <a:latin typeface="Meiryo UI" panose="020B0604030504040204" pitchFamily="50" charset="-128"/>
                <a:ea typeface="Meiryo UI" panose="020B0604030504040204" pitchFamily="50" charset="-128"/>
              </a:rPr>
              <a:t>進</a:t>
            </a:r>
            <a:endParaRPr kumimoji="0" lang="en-US" altLang="ja-JP" sz="1200" b="1" dirty="0">
              <a:latin typeface="Meiryo UI" panose="020B0604030504040204" pitchFamily="50" charset="-128"/>
              <a:ea typeface="Meiryo UI" panose="020B0604030504040204" pitchFamily="50" charset="-128"/>
            </a:endParaRPr>
          </a:p>
        </p:txBody>
      </p:sp>
      <p:sp>
        <p:nvSpPr>
          <p:cNvPr id="46" name="正方形/長方形 45">
            <a:extLst>
              <a:ext uri="{FF2B5EF4-FFF2-40B4-BE49-F238E27FC236}">
                <a16:creationId xmlns:a16="http://schemas.microsoft.com/office/drawing/2014/main" id="{33A45FE9-F2F9-4E2C-B240-BBC8C98C990C}"/>
              </a:ext>
            </a:extLst>
          </p:cNvPr>
          <p:cNvSpPr/>
          <p:nvPr/>
        </p:nvSpPr>
        <p:spPr bwMode="auto">
          <a:xfrm>
            <a:off x="4992104" y="4667250"/>
            <a:ext cx="4786896" cy="1091024"/>
          </a:xfrm>
          <a:prstGeom prst="rect">
            <a:avLst/>
          </a:prstGeom>
          <a:solidFill>
            <a:schemeClr val="accent1">
              <a:lumMod val="60000"/>
              <a:lumOff val="40000"/>
            </a:schemeClr>
          </a:solidFill>
          <a:ln w="76200" algn="ctr">
            <a:solidFill>
              <a:srgbClr val="FF0000"/>
            </a:solidFill>
            <a:miter lim="800000"/>
            <a:headEnd/>
            <a:tailEnd/>
          </a:ln>
        </p:spPr>
        <p:txBody>
          <a:bodyPr vert="horz" wrap="none" lIns="36000" tIns="36000" rIns="36000" bIns="10800" rtlCol="0" anchor="t">
            <a:normAutofit/>
          </a:bodyPr>
          <a:lstStyle/>
          <a:p>
            <a:pPr>
              <a:spcBef>
                <a:spcPts val="80"/>
              </a:spcBef>
              <a:defRPr/>
            </a:pPr>
            <a:r>
              <a:rPr lang="ja-JP" altLang="en-US" sz="1400" b="1" dirty="0">
                <a:latin typeface="Meiryo UI" panose="020B0604030504040204" pitchFamily="50" charset="-128"/>
                <a:ea typeface="Meiryo UI" panose="020B0604030504040204" pitchFamily="50" charset="-128"/>
              </a:rPr>
              <a:t>　</a:t>
            </a:r>
            <a:r>
              <a:rPr kumimoji="0" lang="en-US" altLang="ja-JP" sz="1400" b="1" dirty="0">
                <a:latin typeface="Meiryo UI" panose="020B0604030504040204" pitchFamily="50" charset="-128"/>
                <a:ea typeface="Meiryo UI" panose="020B0604030504040204" pitchFamily="50" charset="-128"/>
              </a:rPr>
              <a:t>B)</a:t>
            </a:r>
            <a:r>
              <a:rPr kumimoji="0" lang="ja-JP" altLang="en-US" sz="1400" b="1" dirty="0">
                <a:latin typeface="Meiryo UI" panose="020B0604030504040204" pitchFamily="50" charset="-128"/>
                <a:ea typeface="Meiryo UI" panose="020B0604030504040204" pitchFamily="50" charset="-128"/>
              </a:rPr>
              <a:t>　大阪の都市機能を</a:t>
            </a:r>
            <a:r>
              <a:rPr lang="ja-JP" altLang="en-US" sz="1400" b="1" dirty="0">
                <a:latin typeface="Meiryo UI" panose="020B0604030504040204" pitchFamily="50" charset="-128"/>
                <a:ea typeface="Meiryo UI" panose="020B0604030504040204" pitchFamily="50" charset="-128"/>
              </a:rPr>
              <a:t>拡充・進化</a:t>
            </a:r>
            <a:endParaRPr kumimoji="0" lang="en-US" altLang="ja-JP" sz="1400" b="1" dirty="0">
              <a:latin typeface="Meiryo UI" panose="020B0604030504040204" pitchFamily="50" charset="-128"/>
              <a:ea typeface="Meiryo UI" panose="020B0604030504040204" pitchFamily="50" charset="-128"/>
            </a:endParaRPr>
          </a:p>
          <a:p>
            <a:pPr>
              <a:lnSpc>
                <a:spcPts val="1100"/>
              </a:lnSpc>
              <a:spcBef>
                <a:spcPts val="80"/>
              </a:spcBef>
              <a:defRPr/>
            </a:pPr>
            <a:r>
              <a:rPr lang="ja-JP" altLang="en-US" sz="1400" b="1" dirty="0">
                <a:latin typeface="Meiryo UI" panose="020B0604030504040204" pitchFamily="50" charset="-128"/>
                <a:ea typeface="Meiryo UI" panose="020B0604030504040204" pitchFamily="50" charset="-128"/>
              </a:rPr>
              <a:t>　　　　　</a:t>
            </a:r>
            <a:r>
              <a:rPr lang="ja-JP" altLang="en-US" sz="1200" b="1" dirty="0">
                <a:latin typeface="Meiryo UI" panose="020B0604030504040204" pitchFamily="50" charset="-128"/>
                <a:ea typeface="Meiryo UI" panose="020B0604030504040204" pitchFamily="50" charset="-128"/>
              </a:rPr>
              <a:t>交通</a:t>
            </a:r>
            <a:r>
              <a:rPr lang="ja-JP" altLang="ja-JP" sz="1200" b="1" dirty="0">
                <a:latin typeface="Meiryo UI" panose="020B0604030504040204" pitchFamily="50" charset="-128"/>
                <a:ea typeface="Meiryo UI" panose="020B0604030504040204" pitchFamily="50" charset="-128"/>
              </a:rPr>
              <a:t>インフラとしての使命の全う</a:t>
            </a:r>
            <a:endParaRPr lang="en-US" altLang="ja-JP" sz="1200" b="1" dirty="0">
              <a:latin typeface="Meiryo UI" panose="020B0604030504040204" pitchFamily="50" charset="-128"/>
              <a:ea typeface="Meiryo UI" panose="020B0604030504040204" pitchFamily="50" charset="-128"/>
            </a:endParaRPr>
          </a:p>
          <a:p>
            <a:pPr>
              <a:lnSpc>
                <a:spcPts val="1100"/>
              </a:lnSpc>
              <a:spcBef>
                <a:spcPts val="80"/>
              </a:spcBef>
              <a:defRPr/>
            </a:pPr>
            <a:r>
              <a:rPr lang="ja-JP" altLang="en-US" sz="1200" b="1" dirty="0">
                <a:latin typeface="Meiryo UI" panose="020B0604030504040204" pitchFamily="50" charset="-128"/>
                <a:ea typeface="Meiryo UI" panose="020B0604030504040204" pitchFamily="50" charset="-128"/>
              </a:rPr>
              <a:t>　　　　　</a:t>
            </a:r>
            <a:r>
              <a:rPr lang="ja-JP" altLang="ja-JP" sz="1200" b="1" dirty="0">
                <a:latin typeface="Meiryo UI" panose="020B0604030504040204" pitchFamily="50" charset="-128"/>
                <a:ea typeface="Meiryo UI" panose="020B0604030504040204" pitchFamily="50" charset="-128"/>
              </a:rPr>
              <a:t>（①安全安心・快適便利 ②自然災害への備え ③</a:t>
            </a:r>
            <a:r>
              <a:rPr lang="ja-JP" altLang="en-US" sz="1200" b="1" dirty="0">
                <a:latin typeface="Meiryo UI" panose="020B0604030504040204" pitchFamily="50" charset="-128"/>
                <a:ea typeface="Meiryo UI" panose="020B0604030504040204" pitchFamily="50" charset="-128"/>
              </a:rPr>
              <a:t>効率</a:t>
            </a:r>
            <a:r>
              <a:rPr lang="ja-JP" altLang="ja-JP" sz="1200" b="1" dirty="0">
                <a:latin typeface="Meiryo UI" panose="020B0604030504040204" pitchFamily="50" charset="-128"/>
                <a:ea typeface="Meiryo UI" panose="020B0604030504040204" pitchFamily="50" charset="-128"/>
              </a:rPr>
              <a:t>的運行）</a:t>
            </a:r>
            <a:endParaRPr kumimoji="0" lang="en-US" altLang="ja-JP" sz="1200" b="1" dirty="0">
              <a:latin typeface="Meiryo UI" panose="020B0604030504040204" pitchFamily="50" charset="-128"/>
              <a:ea typeface="Meiryo UI" panose="020B0604030504040204" pitchFamily="50" charset="-128"/>
            </a:endParaRPr>
          </a:p>
        </p:txBody>
      </p:sp>
      <p:sp>
        <p:nvSpPr>
          <p:cNvPr id="47" name="正方形/長方形 46">
            <a:extLst>
              <a:ext uri="{FF2B5EF4-FFF2-40B4-BE49-F238E27FC236}">
                <a16:creationId xmlns:a16="http://schemas.microsoft.com/office/drawing/2014/main" id="{44A8F369-4DDA-4F1B-99A4-598C5102882C}"/>
              </a:ext>
            </a:extLst>
          </p:cNvPr>
          <p:cNvSpPr/>
          <p:nvPr/>
        </p:nvSpPr>
        <p:spPr bwMode="auto">
          <a:xfrm>
            <a:off x="5181600" y="5251451"/>
            <a:ext cx="4425950" cy="438149"/>
          </a:xfrm>
          <a:prstGeom prst="rect">
            <a:avLst/>
          </a:prstGeom>
          <a:solidFill>
            <a:schemeClr val="accent6">
              <a:lumMod val="60000"/>
              <a:lumOff val="40000"/>
            </a:schemeClr>
          </a:solidFill>
          <a:ln w="12700" algn="ctr">
            <a:solidFill>
              <a:schemeClr val="bg1"/>
            </a:solidFill>
            <a:miter lim="800000"/>
            <a:headEnd/>
            <a:tailEnd/>
          </a:ln>
        </p:spPr>
        <p:txBody>
          <a:bodyPr vert="horz" wrap="none" lIns="36000" tIns="10800" rIns="36000" bIns="10800" rtlCol="0" anchor="ctr">
            <a:normAutofit/>
          </a:bodyPr>
          <a:lstStyle/>
          <a:p>
            <a:pPr>
              <a:spcBef>
                <a:spcPts val="80"/>
              </a:spcBef>
              <a:defRPr/>
            </a:pPr>
            <a:r>
              <a:rPr kumimoji="0" lang="ja-JP" altLang="en-US" sz="1600" b="1" dirty="0">
                <a:latin typeface="Meiryo UI" panose="020B0604030504040204" pitchFamily="50" charset="-128"/>
                <a:ea typeface="Meiryo UI" panose="020B0604030504040204" pitchFamily="50" charset="-128"/>
              </a:rPr>
              <a:t>　</a:t>
            </a:r>
            <a:r>
              <a:rPr lang="en-US" altLang="ja-JP" sz="1400" b="1" dirty="0">
                <a:latin typeface="Meiryo UI" panose="020B0604030504040204" pitchFamily="50" charset="-128"/>
                <a:ea typeface="Meiryo UI" panose="020B0604030504040204" pitchFamily="50" charset="-128"/>
              </a:rPr>
              <a:t>C</a:t>
            </a:r>
            <a:r>
              <a:rPr kumimoji="0" lang="en-US" altLang="ja-JP" sz="1400" b="1" dirty="0">
                <a:latin typeface="Meiryo UI" panose="020B0604030504040204" pitchFamily="50" charset="-128"/>
                <a:ea typeface="Meiryo UI" panose="020B0604030504040204" pitchFamily="50" charset="-128"/>
              </a:rPr>
              <a:t>)</a:t>
            </a:r>
            <a:r>
              <a:rPr kumimoji="0" lang="ja-JP" altLang="en-US" sz="1400" b="1" dirty="0">
                <a:latin typeface="Meiryo UI" panose="020B0604030504040204" pitchFamily="50" charset="-128"/>
                <a:ea typeface="Meiryo UI" panose="020B0604030504040204" pitchFamily="50" charset="-128"/>
              </a:rPr>
              <a:t>　収益基盤を強化</a:t>
            </a:r>
            <a:endParaRPr kumimoji="0" lang="en-US" altLang="ja-JP" sz="1400" b="1" dirty="0">
              <a:latin typeface="Meiryo UI" panose="020B0604030504040204" pitchFamily="50" charset="-128"/>
              <a:ea typeface="Meiryo UI" panose="020B0604030504040204" pitchFamily="50" charset="-128"/>
            </a:endParaRPr>
          </a:p>
          <a:p>
            <a:pPr>
              <a:lnSpc>
                <a:spcPts val="1100"/>
              </a:lnSpc>
              <a:spcBef>
                <a:spcPts val="80"/>
              </a:spcBef>
              <a:defRPr/>
            </a:pPr>
            <a:r>
              <a:rPr lang="ja-JP" altLang="en-US" sz="1400" b="1" dirty="0">
                <a:latin typeface="Meiryo UI" panose="020B0604030504040204" pitchFamily="50" charset="-128"/>
                <a:ea typeface="Meiryo UI" panose="020B0604030504040204" pitchFamily="50" charset="-128"/>
              </a:rPr>
              <a:t>　　　　　</a:t>
            </a:r>
            <a:r>
              <a:rPr lang="ja-JP" altLang="en-US" sz="1200" b="1" dirty="0">
                <a:latin typeface="Meiryo UI" panose="020B0604030504040204" pitchFamily="50" charset="-128"/>
                <a:ea typeface="Meiryo UI" panose="020B0604030504040204" pitchFamily="50" charset="-128"/>
              </a:rPr>
              <a:t>持続可能な</a:t>
            </a:r>
            <a:r>
              <a:rPr lang="ja-JP" altLang="ja-JP" sz="1200" b="1" dirty="0">
                <a:latin typeface="Meiryo UI" panose="020B0604030504040204" pitchFamily="50" charset="-128"/>
                <a:ea typeface="Meiryo UI" panose="020B0604030504040204" pitchFamily="50" charset="-128"/>
              </a:rPr>
              <a:t>事業</a:t>
            </a:r>
            <a:r>
              <a:rPr lang="ja-JP" altLang="en-US" sz="1200" b="1" dirty="0">
                <a:latin typeface="Meiryo UI" panose="020B0604030504040204" pitchFamily="50" charset="-128"/>
                <a:ea typeface="Meiryo UI" panose="020B0604030504040204" pitchFamily="50" charset="-128"/>
              </a:rPr>
              <a:t>発展の基盤としての事業</a:t>
            </a:r>
            <a:r>
              <a:rPr lang="ja-JP" altLang="ja-JP" sz="1200" b="1" dirty="0">
                <a:latin typeface="Meiryo UI" panose="020B0604030504040204" pitchFamily="50" charset="-128"/>
                <a:ea typeface="Meiryo UI" panose="020B0604030504040204" pitchFamily="50" charset="-128"/>
              </a:rPr>
              <a:t>の多角化</a:t>
            </a:r>
            <a:r>
              <a:rPr lang="ja-JP" altLang="en-US" sz="1400" b="1" dirty="0">
                <a:latin typeface="Meiryo UI" panose="020B0604030504040204" pitchFamily="50" charset="-128"/>
                <a:ea typeface="Meiryo UI" panose="020B0604030504040204" pitchFamily="50" charset="-128"/>
              </a:rPr>
              <a:t>　　　　   </a:t>
            </a:r>
            <a:endParaRPr kumimoji="0" lang="en-US" altLang="ja-JP" sz="1400" b="1" dirty="0">
              <a:latin typeface="Meiryo UI" panose="020B0604030504040204" pitchFamily="50" charset="-128"/>
              <a:ea typeface="Meiryo UI" panose="020B0604030504040204" pitchFamily="50" charset="-128"/>
            </a:endParaRPr>
          </a:p>
        </p:txBody>
      </p:sp>
      <p:sp>
        <p:nvSpPr>
          <p:cNvPr id="32" name="正方形/長方形 31">
            <a:extLst>
              <a:ext uri="{FF2B5EF4-FFF2-40B4-BE49-F238E27FC236}">
                <a16:creationId xmlns:a16="http://schemas.microsoft.com/office/drawing/2014/main" id="{44A8F369-4DDA-4F1B-99A4-598C5102882C}"/>
              </a:ext>
            </a:extLst>
          </p:cNvPr>
          <p:cNvSpPr/>
          <p:nvPr/>
        </p:nvSpPr>
        <p:spPr bwMode="auto">
          <a:xfrm>
            <a:off x="4240591" y="4082415"/>
            <a:ext cx="375756" cy="2222950"/>
          </a:xfrm>
          <a:prstGeom prst="rect">
            <a:avLst/>
          </a:prstGeom>
          <a:solidFill>
            <a:schemeClr val="tx2">
              <a:lumMod val="50000"/>
            </a:schemeClr>
          </a:solidFill>
          <a:ln w="9525" algn="ctr">
            <a:noFill/>
            <a:miter lim="800000"/>
            <a:headEnd/>
            <a:tailEnd/>
          </a:ln>
        </p:spPr>
        <p:txBody>
          <a:bodyPr vert="eaVert" wrap="none" lIns="36000" tIns="10800" rIns="36000" bIns="10800" rtlCol="0" anchor="ctr">
            <a:normAutofit/>
          </a:bodyPr>
          <a:lstStyle/>
          <a:p>
            <a:pPr algn="ctr">
              <a:spcBef>
                <a:spcPts val="80"/>
              </a:spcBef>
              <a:defRPr/>
            </a:pPr>
            <a:r>
              <a:rPr kumimoji="0" lang="ja-JP" altLang="en-US" sz="1600" b="1" dirty="0">
                <a:solidFill>
                  <a:prstClr val="white"/>
                </a:solidFill>
                <a:latin typeface="Meiryo UI" panose="020B0604030504040204" pitchFamily="50" charset="-128"/>
                <a:ea typeface="Meiryo UI" panose="020B0604030504040204" pitchFamily="50" charset="-128"/>
              </a:rPr>
              <a:t>取組みの骨格</a:t>
            </a:r>
            <a:endParaRPr kumimoji="0" lang="en-US" altLang="ja-JP" sz="1400" b="1" dirty="0">
              <a:solidFill>
                <a:schemeClr val="bg1"/>
              </a:solidFill>
              <a:latin typeface="Meiryo UI" panose="020B0604030504040204" pitchFamily="50" charset="-128"/>
              <a:ea typeface="Meiryo UI" panose="020B0604030504040204" pitchFamily="50" charset="-128"/>
            </a:endParaRPr>
          </a:p>
        </p:txBody>
      </p:sp>
      <p:grpSp>
        <p:nvGrpSpPr>
          <p:cNvPr id="8" name="グループ化 7"/>
          <p:cNvGrpSpPr/>
          <p:nvPr/>
        </p:nvGrpSpPr>
        <p:grpSpPr>
          <a:xfrm>
            <a:off x="7217957" y="1679574"/>
            <a:ext cx="3165621" cy="1168402"/>
            <a:chOff x="7217957" y="1679574"/>
            <a:chExt cx="3165621" cy="1168402"/>
          </a:xfrm>
          <a:effectLst>
            <a:outerShdw blurRad="50800" dist="38100" dir="2700000" algn="tl" rotWithShape="0">
              <a:prstClr val="black">
                <a:alpha val="40000"/>
              </a:prstClr>
            </a:outerShdw>
          </a:effectLst>
        </p:grpSpPr>
        <p:sp>
          <p:nvSpPr>
            <p:cNvPr id="66" name="フリーフォーム 65"/>
            <p:cNvSpPr/>
            <p:nvPr/>
          </p:nvSpPr>
          <p:spPr bwMode="auto">
            <a:xfrm>
              <a:off x="7217957" y="1977894"/>
              <a:ext cx="3165621" cy="870082"/>
            </a:xfrm>
            <a:custGeom>
              <a:avLst/>
              <a:gdLst>
                <a:gd name="connsiteX0" fmla="*/ 0 w 2604588"/>
                <a:gd name="connsiteY0" fmla="*/ 0 h 831793"/>
                <a:gd name="connsiteX1" fmla="*/ 2604588 w 2604588"/>
                <a:gd name="connsiteY1" fmla="*/ 0 h 831793"/>
                <a:gd name="connsiteX2" fmla="*/ 2604588 w 2604588"/>
                <a:gd name="connsiteY2" fmla="*/ 634406 h 831793"/>
                <a:gd name="connsiteX3" fmla="*/ 2407201 w 2604588"/>
                <a:gd name="connsiteY3" fmla="*/ 831793 h 831793"/>
                <a:gd name="connsiteX4" fmla="*/ 197387 w 2604588"/>
                <a:gd name="connsiteY4" fmla="*/ 831793 h 831793"/>
                <a:gd name="connsiteX5" fmla="*/ 0 w 2604588"/>
                <a:gd name="connsiteY5" fmla="*/ 634406 h 831793"/>
                <a:gd name="connsiteX6" fmla="*/ 0 w 2604588"/>
                <a:gd name="connsiteY6" fmla="*/ 0 h 831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04588" h="831793">
                  <a:moveTo>
                    <a:pt x="0" y="0"/>
                  </a:moveTo>
                  <a:lnTo>
                    <a:pt x="2604588" y="0"/>
                  </a:lnTo>
                  <a:lnTo>
                    <a:pt x="2604588" y="634406"/>
                  </a:lnTo>
                  <a:cubicBezTo>
                    <a:pt x="2604588" y="743420"/>
                    <a:pt x="2516215" y="831793"/>
                    <a:pt x="2407201" y="831793"/>
                  </a:cubicBezTo>
                  <a:lnTo>
                    <a:pt x="197387" y="831793"/>
                  </a:lnTo>
                  <a:cubicBezTo>
                    <a:pt x="88373" y="831793"/>
                    <a:pt x="0" y="743420"/>
                    <a:pt x="0" y="634406"/>
                  </a:cubicBezTo>
                  <a:lnTo>
                    <a:pt x="0" y="0"/>
                  </a:lnTo>
                  <a:close/>
                </a:path>
              </a:pathLst>
            </a:custGeom>
            <a:solidFill>
              <a:schemeClr val="tx2"/>
            </a:solidFill>
            <a:ln w="28575">
              <a:solidFill>
                <a:schemeClr val="tx2"/>
              </a:solidFill>
              <a:headEnd/>
              <a:tailEn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36000" tIns="10800" rIns="36000" bIns="10800" numCol="1" spcCol="0" rtlCol="0" fromWordArt="0" anchor="ctr" anchorCtr="0" forceAA="0" compatLnSpc="1">
              <a:prstTxWarp prst="textNoShape">
                <a:avLst/>
              </a:prstTxWarp>
              <a:noAutofit/>
            </a:bodyPr>
            <a:lstStyle/>
            <a:p>
              <a:pPr marL="185738" indent="-185738" algn="ctr">
                <a:buClr>
                  <a:srgbClr val="969696"/>
                </a:buClr>
                <a:buSzPct val="80000"/>
                <a:defRPr/>
              </a:pPr>
              <a:r>
                <a:rPr lang="en-US" altLang="ja-JP" sz="1600" b="1" dirty="0">
                  <a:solidFill>
                    <a:prstClr val="white"/>
                  </a:solidFill>
                  <a:latin typeface="Meiryo UI" panose="020B0604030504040204" pitchFamily="50" charset="-128"/>
                  <a:ea typeface="Meiryo UI" panose="020B0604030504040204" pitchFamily="50" charset="-128"/>
                </a:rPr>
                <a:t>Osaka Metro</a:t>
              </a:r>
              <a:r>
                <a:rPr lang="ja-JP" altLang="en-US" sz="1600" b="1" dirty="0">
                  <a:solidFill>
                    <a:prstClr val="white"/>
                  </a:solidFill>
                  <a:latin typeface="Meiryo UI" panose="020B0604030504040204" pitchFamily="50" charset="-128"/>
                  <a:ea typeface="Meiryo UI" panose="020B0604030504040204" pitchFamily="50" charset="-128"/>
                </a:rPr>
                <a:t> </a:t>
              </a:r>
              <a:r>
                <a:rPr lang="en-US" altLang="ja-JP" sz="1600" b="1" dirty="0">
                  <a:solidFill>
                    <a:prstClr val="white"/>
                  </a:solidFill>
                  <a:latin typeface="Meiryo UI" panose="020B0604030504040204" pitchFamily="50" charset="-128"/>
                  <a:ea typeface="Meiryo UI" panose="020B0604030504040204" pitchFamily="50" charset="-128"/>
                </a:rPr>
                <a:t>Group</a:t>
              </a:r>
              <a:r>
                <a:rPr lang="ja-JP" altLang="en-US" sz="1600" b="1" dirty="0">
                  <a:solidFill>
                    <a:prstClr val="white"/>
                  </a:solidFill>
                  <a:latin typeface="Meiryo UI" panose="020B0604030504040204" pitchFamily="50" charset="-128"/>
                  <a:ea typeface="Meiryo UI" panose="020B0604030504040204" pitchFamily="50" charset="-128"/>
                </a:rPr>
                <a:t>は、</a:t>
              </a:r>
              <a:endParaRPr lang="en-US" altLang="ja-JP" sz="1600" b="1" dirty="0">
                <a:solidFill>
                  <a:prstClr val="white"/>
                </a:solidFill>
                <a:latin typeface="Meiryo UI" panose="020B0604030504040204" pitchFamily="50" charset="-128"/>
                <a:ea typeface="Meiryo UI" panose="020B0604030504040204" pitchFamily="50" charset="-128"/>
              </a:endParaRPr>
            </a:p>
            <a:p>
              <a:pPr marL="185738" indent="-185738" algn="ctr">
                <a:buClr>
                  <a:srgbClr val="969696"/>
                </a:buClr>
                <a:buSzPct val="80000"/>
                <a:defRPr/>
              </a:pPr>
              <a:r>
                <a:rPr lang="ja-JP" altLang="en-US" sz="1600" b="1" dirty="0">
                  <a:solidFill>
                    <a:schemeClr val="bg1"/>
                  </a:solidFill>
                  <a:latin typeface="Meiryo UI" panose="020B0604030504040204" pitchFamily="50" charset="-128"/>
                  <a:ea typeface="Meiryo UI" panose="020B0604030504040204" pitchFamily="50" charset="-128"/>
                </a:rPr>
                <a:t>交通</a:t>
              </a:r>
              <a:r>
                <a:rPr lang="ja-JP" altLang="en-US" sz="1600" b="1" dirty="0">
                  <a:solidFill>
                    <a:prstClr val="white"/>
                  </a:solidFill>
                  <a:latin typeface="Meiryo UI" panose="020B0604030504040204" pitchFamily="50" charset="-128"/>
                  <a:ea typeface="Meiryo UI" panose="020B0604030504040204" pitchFamily="50" charset="-128"/>
                </a:rPr>
                <a:t>を核にした生活まちづくり企業へ</a:t>
              </a:r>
              <a:endParaRPr lang="en-US" altLang="ja-JP" sz="1600" b="1" dirty="0">
                <a:solidFill>
                  <a:prstClr val="white"/>
                </a:solidFill>
                <a:latin typeface="Meiryo UI" panose="020B0604030504040204" pitchFamily="50" charset="-128"/>
                <a:ea typeface="Meiryo UI" panose="020B0604030504040204" pitchFamily="50" charset="-128"/>
              </a:endParaRPr>
            </a:p>
            <a:p>
              <a:pPr marL="185738" indent="-185738" algn="ctr">
                <a:buClr>
                  <a:srgbClr val="969696"/>
                </a:buClr>
                <a:buSzPct val="80000"/>
                <a:defRPr/>
              </a:pPr>
              <a:r>
                <a:rPr lang="ja-JP" altLang="en-US" sz="1600" b="1" dirty="0">
                  <a:solidFill>
                    <a:prstClr val="white"/>
                  </a:solidFill>
                  <a:latin typeface="Meiryo UI" panose="020B0604030504040204" pitchFamily="50" charset="-128"/>
                  <a:ea typeface="Meiryo UI" panose="020B0604030504040204" pitchFamily="50" charset="-128"/>
                </a:rPr>
                <a:t>変革していきます。</a:t>
              </a:r>
            </a:p>
          </p:txBody>
        </p:sp>
        <p:sp>
          <p:nvSpPr>
            <p:cNvPr id="65" name="フリーフォーム 64"/>
            <p:cNvSpPr/>
            <p:nvPr/>
          </p:nvSpPr>
          <p:spPr bwMode="auto">
            <a:xfrm>
              <a:off x="7217957" y="1679574"/>
              <a:ext cx="3162668" cy="333376"/>
            </a:xfrm>
            <a:custGeom>
              <a:avLst/>
              <a:gdLst>
                <a:gd name="connsiteX0" fmla="*/ 197387 w 2604588"/>
                <a:gd name="connsiteY0" fmla="*/ 0 h 306788"/>
                <a:gd name="connsiteX1" fmla="*/ 2407201 w 2604588"/>
                <a:gd name="connsiteY1" fmla="*/ 0 h 306788"/>
                <a:gd name="connsiteX2" fmla="*/ 2604588 w 2604588"/>
                <a:gd name="connsiteY2" fmla="*/ 197387 h 306788"/>
                <a:gd name="connsiteX3" fmla="*/ 2604588 w 2604588"/>
                <a:gd name="connsiteY3" fmla="*/ 306788 h 306788"/>
                <a:gd name="connsiteX4" fmla="*/ 0 w 2604588"/>
                <a:gd name="connsiteY4" fmla="*/ 306788 h 306788"/>
                <a:gd name="connsiteX5" fmla="*/ 0 w 2604588"/>
                <a:gd name="connsiteY5" fmla="*/ 197387 h 306788"/>
                <a:gd name="connsiteX6" fmla="*/ 197387 w 2604588"/>
                <a:gd name="connsiteY6" fmla="*/ 0 h 306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04588" h="306788">
                  <a:moveTo>
                    <a:pt x="197387" y="0"/>
                  </a:moveTo>
                  <a:lnTo>
                    <a:pt x="2407201" y="0"/>
                  </a:lnTo>
                  <a:cubicBezTo>
                    <a:pt x="2516215" y="0"/>
                    <a:pt x="2604588" y="88373"/>
                    <a:pt x="2604588" y="197387"/>
                  </a:cubicBezTo>
                  <a:lnTo>
                    <a:pt x="2604588" y="306788"/>
                  </a:lnTo>
                  <a:lnTo>
                    <a:pt x="0" y="306788"/>
                  </a:lnTo>
                  <a:lnTo>
                    <a:pt x="0" y="197387"/>
                  </a:lnTo>
                  <a:cubicBezTo>
                    <a:pt x="0" y="88373"/>
                    <a:pt x="88373" y="0"/>
                    <a:pt x="197387" y="0"/>
                  </a:cubicBezTo>
                  <a:close/>
                </a:path>
              </a:pathLst>
            </a:custGeom>
            <a:solidFill>
              <a:srgbClr val="EDEFF3"/>
            </a:solidFill>
            <a:ln w="28575" algn="ctr">
              <a:solidFill>
                <a:schemeClr val="tx2"/>
              </a:solidFill>
              <a:miter lim="800000"/>
              <a:headEnd/>
              <a:tailEnd/>
            </a:ln>
          </p:spPr>
          <p:txBody>
            <a:bodyPr rot="0" spcFirstLastPara="0" vertOverflow="overflow" horzOverflow="overflow" vert="horz" wrap="square" lIns="36000" tIns="0" rIns="36000" bIns="10800" numCol="1" spcCol="0" rtlCol="0" fromWordArt="0" anchor="ctr" anchorCtr="0" forceAA="0" compatLnSpc="1">
              <a:prstTxWarp prst="textNoShape">
                <a:avLst/>
              </a:prstTxWarp>
              <a:noAutofit/>
            </a:bodyPr>
            <a:lstStyle/>
            <a:p>
              <a:pPr marL="185738" indent="-185738" algn="ctr">
                <a:buClr>
                  <a:srgbClr val="969696"/>
                </a:buClr>
                <a:buSzPct val="80000"/>
                <a:defRPr/>
              </a:pPr>
              <a:r>
                <a:rPr kumimoji="0" lang="ja-JP" altLang="en-US" sz="1400" b="1" dirty="0">
                  <a:solidFill>
                    <a:prstClr val="black"/>
                  </a:solidFill>
                  <a:latin typeface="Meiryo UI" panose="020B0604030504040204" pitchFamily="50" charset="-128"/>
                  <a:ea typeface="Meiryo UI" panose="020B0604030504040204" pitchFamily="50" charset="-128"/>
                </a:rPr>
                <a:t>目指す姿</a:t>
              </a:r>
            </a:p>
          </p:txBody>
        </p:sp>
      </p:grpSp>
      <p:cxnSp>
        <p:nvCxnSpPr>
          <p:cNvPr id="36" name="直線矢印コネクタ 35"/>
          <p:cNvCxnSpPr/>
          <p:nvPr/>
        </p:nvCxnSpPr>
        <p:spPr>
          <a:xfrm flipH="1">
            <a:off x="3125936" y="2403842"/>
            <a:ext cx="775431" cy="0"/>
          </a:xfrm>
          <a:prstGeom prst="straightConnector1">
            <a:avLst/>
          </a:prstGeom>
          <a:ln w="88900">
            <a:solidFill>
              <a:schemeClr val="tx2"/>
            </a:solidFill>
            <a:headEnd type="triangle"/>
            <a:tailEnd type="none"/>
          </a:ln>
        </p:spPr>
        <p:style>
          <a:lnRef idx="1">
            <a:schemeClr val="dk1"/>
          </a:lnRef>
          <a:fillRef idx="0">
            <a:schemeClr val="dk1"/>
          </a:fillRef>
          <a:effectRef idx="0">
            <a:schemeClr val="dk1"/>
          </a:effectRef>
          <a:fontRef idx="minor">
            <a:schemeClr val="tx1"/>
          </a:fontRef>
        </p:style>
      </p:cxnSp>
      <p:sp>
        <p:nvSpPr>
          <p:cNvPr id="34" name="角丸四角形 33"/>
          <p:cNvSpPr/>
          <p:nvPr/>
        </p:nvSpPr>
        <p:spPr bwMode="auto">
          <a:xfrm>
            <a:off x="2051799" y="2150545"/>
            <a:ext cx="1327207" cy="506595"/>
          </a:xfrm>
          <a:prstGeom prst="roundRect">
            <a:avLst/>
          </a:prstGeom>
          <a:solidFill>
            <a:schemeClr val="accent1">
              <a:lumMod val="20000"/>
              <a:lumOff val="80000"/>
            </a:schemeClr>
          </a:solidFill>
          <a:ln w="38100" algn="ctr">
            <a:solidFill>
              <a:schemeClr val="tx2"/>
            </a:solidFill>
            <a:miter lim="800000"/>
            <a:headEnd/>
            <a:tailEnd/>
          </a:ln>
        </p:spPr>
        <p:txBody>
          <a:bodyPr wrap="none" lIns="36000" tIns="10800" rIns="36000" bIns="10800" rtlCol="0" anchor="ctr"/>
          <a:lstStyle/>
          <a:p>
            <a:pPr marL="185738" indent="-185738" algn="ctr">
              <a:buClr>
                <a:srgbClr val="969696"/>
              </a:buClr>
              <a:buSzPct val="80000"/>
              <a:defRPr/>
            </a:pPr>
            <a:r>
              <a:rPr kumimoji="0" lang="ja-JP" altLang="en-US" sz="1400" b="1" dirty="0">
                <a:solidFill>
                  <a:prstClr val="black"/>
                </a:solidFill>
                <a:latin typeface="Meiryo UI" panose="020B0604030504040204" pitchFamily="50" charset="-128"/>
                <a:ea typeface="Meiryo UI" panose="020B0604030504040204" pitchFamily="50" charset="-128"/>
              </a:rPr>
              <a:t>企業理念</a:t>
            </a:r>
            <a:endParaRPr kumimoji="0" lang="en-US" altLang="ja-JP" sz="1400" b="1" dirty="0">
              <a:solidFill>
                <a:prstClr val="black"/>
              </a:solidFill>
              <a:latin typeface="Meiryo UI" panose="020B0604030504040204" pitchFamily="50" charset="-128"/>
              <a:ea typeface="Meiryo UI" panose="020B0604030504040204" pitchFamily="50" charset="-128"/>
            </a:endParaRPr>
          </a:p>
          <a:p>
            <a:pPr marL="185738" indent="-185738" algn="ctr">
              <a:buClr>
                <a:srgbClr val="969696"/>
              </a:buClr>
              <a:buSzPct val="80000"/>
              <a:defRPr/>
            </a:pPr>
            <a:r>
              <a:rPr kumimoji="0" lang="ja-JP" altLang="en-US" sz="1400" b="1" dirty="0">
                <a:solidFill>
                  <a:prstClr val="black"/>
                </a:solidFill>
                <a:latin typeface="Meiryo UI" panose="020B0604030504040204" pitchFamily="50" charset="-128"/>
                <a:ea typeface="Meiryo UI" panose="020B0604030504040204" pitchFamily="50" charset="-128"/>
              </a:rPr>
              <a:t>（目指す姿）</a:t>
            </a:r>
          </a:p>
        </p:txBody>
      </p:sp>
    </p:spTree>
    <p:extLst>
      <p:ext uri="{BB962C8B-B14F-4D97-AF65-F5344CB8AC3E}">
        <p14:creationId xmlns:p14="http://schemas.microsoft.com/office/powerpoint/2010/main" val="41646175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p:txBody>
          <a:bodyPr/>
          <a:lstStyle/>
          <a:p>
            <a:r>
              <a:rPr lang="en-US" altLang="ja-JP" dirty="0" smtClean="0">
                <a:solidFill>
                  <a:schemeClr val="tx1"/>
                </a:solidFill>
                <a:latin typeface="Meiryo UI" panose="020B0604030504040204" pitchFamily="50" charset="-128"/>
              </a:rPr>
              <a:t>1-2</a:t>
            </a:r>
            <a:r>
              <a:rPr lang="ja-JP" altLang="en-US" dirty="0" smtClean="0">
                <a:solidFill>
                  <a:schemeClr val="tx1"/>
                </a:solidFill>
                <a:latin typeface="Meiryo UI" panose="020B0604030504040204" pitchFamily="50" charset="-128"/>
              </a:rPr>
              <a:t>　</a:t>
            </a:r>
            <a:r>
              <a:rPr lang="en-US" altLang="ja-JP" dirty="0" smtClean="0">
                <a:solidFill>
                  <a:schemeClr val="tx1"/>
                </a:solidFill>
                <a:latin typeface="Meiryo UI" panose="020B0604030504040204" pitchFamily="50" charset="-128"/>
              </a:rPr>
              <a:t>Osaka</a:t>
            </a:r>
            <a:r>
              <a:rPr lang="ja-JP" altLang="en-US" dirty="0" smtClean="0">
                <a:solidFill>
                  <a:schemeClr val="tx1"/>
                </a:solidFill>
                <a:latin typeface="Meiryo UI" panose="020B0604030504040204" pitchFamily="50" charset="-128"/>
              </a:rPr>
              <a:t>　</a:t>
            </a:r>
            <a:r>
              <a:rPr lang="en-US" altLang="ja-JP" dirty="0" smtClean="0">
                <a:solidFill>
                  <a:schemeClr val="tx1"/>
                </a:solidFill>
                <a:latin typeface="Meiryo UI" panose="020B0604030504040204" pitchFamily="50" charset="-128"/>
              </a:rPr>
              <a:t>Metro</a:t>
            </a:r>
            <a:r>
              <a:rPr lang="ja-JP" altLang="en-US" dirty="0" smtClean="0">
                <a:solidFill>
                  <a:schemeClr val="tx1"/>
                </a:solidFill>
                <a:latin typeface="Meiryo UI" panose="020B0604030504040204" pitchFamily="50" charset="-128"/>
              </a:rPr>
              <a:t>中期経営計画　戦略</a:t>
            </a:r>
            <a:r>
              <a:rPr lang="ja-JP" altLang="en-US" dirty="0">
                <a:solidFill>
                  <a:schemeClr val="tx1"/>
                </a:solidFill>
                <a:latin typeface="Meiryo UI" panose="020B0604030504040204" pitchFamily="50" charset="-128"/>
              </a:rPr>
              <a:t>骨子（重点テーマ）</a:t>
            </a:r>
            <a:endParaRPr kumimoji="1" lang="ja-JP" altLang="en-US" dirty="0">
              <a:solidFill>
                <a:schemeClr val="tx1"/>
              </a:solidFill>
              <a:latin typeface="Meiryo UI" panose="020B0604030504040204" pitchFamily="50" charset="-128"/>
            </a:endParaRPr>
          </a:p>
        </p:txBody>
      </p:sp>
      <p:sp>
        <p:nvSpPr>
          <p:cNvPr id="3" name="サブタイトル 2"/>
          <p:cNvSpPr>
            <a:spLocks noGrp="1"/>
          </p:cNvSpPr>
          <p:nvPr>
            <p:ph type="subTitle" idx="1"/>
          </p:nvPr>
        </p:nvSpPr>
        <p:spPr>
          <a:xfrm>
            <a:off x="641350" y="802281"/>
            <a:ext cx="10918825" cy="1004053"/>
          </a:xfrm>
        </p:spPr>
        <p:txBody>
          <a:bodyPr wrap="none"/>
          <a:lstStyle/>
          <a:p>
            <a:r>
              <a:rPr lang="ja-JP" altLang="en-US" dirty="0">
                <a:latin typeface="Meiryo UI" panose="020B0604030504040204" pitchFamily="50" charset="-128"/>
              </a:rPr>
              <a:t>大阪の次世代型社会生活インフラの構築に向けて、先駆的な都市型</a:t>
            </a:r>
            <a:r>
              <a:rPr lang="en-US" altLang="ja-JP" dirty="0">
                <a:latin typeface="Meiryo UI" panose="020B0604030504040204" pitchFamily="50" charset="-128"/>
              </a:rPr>
              <a:t>MaaS</a:t>
            </a:r>
            <a:r>
              <a:rPr lang="ja-JP" altLang="en-US" dirty="0">
                <a:latin typeface="Meiryo UI" panose="020B0604030504040204" pitchFamily="50" charset="-128"/>
              </a:rPr>
              <a:t>の構築を軸に</a:t>
            </a:r>
            <a:r>
              <a:rPr lang="ja-JP" altLang="en-US" dirty="0" smtClean="0">
                <a:latin typeface="Meiryo UI" panose="020B0604030504040204" pitchFamily="50" charset="-128"/>
              </a:rPr>
              <a:t>、</a:t>
            </a:r>
            <a:r>
              <a:rPr lang="en-US" altLang="ja-JP" dirty="0" smtClean="0">
                <a:latin typeface="Meiryo UI" panose="020B0604030504040204" pitchFamily="50" charset="-128"/>
              </a:rPr>
              <a:t/>
            </a:r>
            <a:br>
              <a:rPr lang="en-US" altLang="ja-JP" dirty="0" smtClean="0">
                <a:latin typeface="Meiryo UI" panose="020B0604030504040204" pitchFamily="50" charset="-128"/>
              </a:rPr>
            </a:br>
            <a:r>
              <a:rPr lang="ja-JP" altLang="en-US" dirty="0" smtClean="0">
                <a:latin typeface="Meiryo UI" panose="020B0604030504040204" pitchFamily="50" charset="-128"/>
              </a:rPr>
              <a:t>既存</a:t>
            </a:r>
            <a:r>
              <a:rPr lang="ja-JP" altLang="en-US" dirty="0">
                <a:latin typeface="Meiryo UI" panose="020B0604030504040204" pitchFamily="50" charset="-128"/>
              </a:rPr>
              <a:t>事業を徹底強化すると共に、有機的に結合させて「デジタルマーケティング・</a:t>
            </a:r>
            <a:r>
              <a:rPr lang="en-US" altLang="ja-JP" dirty="0">
                <a:latin typeface="Meiryo UI" panose="020B0604030504040204" pitchFamily="50" charset="-128"/>
              </a:rPr>
              <a:t>MaaS</a:t>
            </a:r>
            <a:r>
              <a:rPr lang="ja-JP" altLang="en-US" dirty="0">
                <a:latin typeface="Meiryo UI" panose="020B0604030504040204" pitchFamily="50" charset="-128"/>
              </a:rPr>
              <a:t>・都市開発」に進化させ</a:t>
            </a:r>
            <a:r>
              <a:rPr lang="ja-JP" altLang="en-US" dirty="0" smtClean="0">
                <a:latin typeface="Meiryo UI" panose="020B0604030504040204" pitchFamily="50" charset="-128"/>
              </a:rPr>
              <a:t>、</a:t>
            </a:r>
            <a:r>
              <a:rPr lang="en-US" altLang="ja-JP" dirty="0" smtClean="0">
                <a:latin typeface="Meiryo UI" panose="020B0604030504040204" pitchFamily="50" charset="-128"/>
              </a:rPr>
              <a:t/>
            </a:r>
            <a:br>
              <a:rPr lang="en-US" altLang="ja-JP" dirty="0" smtClean="0">
                <a:latin typeface="Meiryo UI" panose="020B0604030504040204" pitchFamily="50" charset="-128"/>
              </a:rPr>
            </a:br>
            <a:r>
              <a:rPr lang="ja-JP" altLang="en-US" dirty="0" smtClean="0">
                <a:latin typeface="Meiryo UI" panose="020B0604030504040204" pitchFamily="50" charset="-128"/>
              </a:rPr>
              <a:t>新しい</a:t>
            </a:r>
            <a:r>
              <a:rPr lang="ja-JP" altLang="en-US" dirty="0">
                <a:latin typeface="Meiryo UI" panose="020B0604030504040204" pitchFamily="50" charset="-128"/>
              </a:rPr>
              <a:t>事業グループを確立する</a:t>
            </a:r>
            <a:r>
              <a:rPr lang="ja-JP" altLang="en-US" dirty="0" smtClean="0">
                <a:latin typeface="Meiryo UI" panose="020B0604030504040204" pitchFamily="50" charset="-128"/>
              </a:rPr>
              <a:t>。</a:t>
            </a:r>
            <a:endParaRPr lang="ja-JP" altLang="en-US" dirty="0">
              <a:latin typeface="Meiryo UI" panose="020B0604030504040204" pitchFamily="50" charset="-128"/>
            </a:endParaRPr>
          </a:p>
        </p:txBody>
      </p:sp>
      <p:sp>
        <p:nvSpPr>
          <p:cNvPr id="9" name="正方形/長方形 8"/>
          <p:cNvSpPr/>
          <p:nvPr/>
        </p:nvSpPr>
        <p:spPr>
          <a:xfrm>
            <a:off x="1720216" y="5146412"/>
            <a:ext cx="8794207" cy="523220"/>
          </a:xfrm>
          <a:prstGeom prst="rect">
            <a:avLst/>
          </a:prstGeom>
        </p:spPr>
        <p:txBody>
          <a:bodyPr wrap="square">
            <a:spAutoFit/>
          </a:bodyPr>
          <a:lstStyle/>
          <a:p>
            <a:pPr>
              <a:spcBef>
                <a:spcPts val="80"/>
              </a:spcBef>
              <a:defRPr/>
            </a:pPr>
            <a:r>
              <a:rPr kumimoji="0" lang="en-US" altLang="ja-JP" sz="1400" dirty="0">
                <a:solidFill>
                  <a:prstClr val="black"/>
                </a:solidFill>
                <a:latin typeface="Meiryo UI" panose="020B0604030504040204" pitchFamily="50" charset="-128"/>
                <a:ea typeface="Meiryo UI" panose="020B0604030504040204" pitchFamily="50" charset="-128"/>
              </a:rPr>
              <a:t/>
            </a:r>
            <a:br>
              <a:rPr kumimoji="0" lang="en-US" altLang="ja-JP" sz="1400" dirty="0">
                <a:solidFill>
                  <a:prstClr val="black"/>
                </a:solidFill>
                <a:latin typeface="Meiryo UI" panose="020B0604030504040204" pitchFamily="50" charset="-128"/>
                <a:ea typeface="Meiryo UI" panose="020B0604030504040204" pitchFamily="50" charset="-128"/>
              </a:rPr>
            </a:br>
            <a:r>
              <a:rPr kumimoji="0" lang="ja-JP" altLang="en-US" sz="1400" dirty="0">
                <a:solidFill>
                  <a:prstClr val="black"/>
                </a:solidFill>
                <a:latin typeface="Meiryo UI" panose="020B0604030504040204" pitchFamily="50" charset="-128"/>
                <a:ea typeface="Meiryo UI" panose="020B0604030504040204" pitchFamily="50" charset="-128"/>
              </a:rPr>
              <a:t>　</a:t>
            </a:r>
            <a:r>
              <a:rPr kumimoji="0" lang="ja-JP" altLang="en-US" sz="1400" b="1" dirty="0">
                <a:solidFill>
                  <a:prstClr val="black"/>
                </a:solidFill>
                <a:latin typeface="Meiryo UI" panose="020B0604030504040204" pitchFamily="50" charset="-128"/>
                <a:ea typeface="Meiryo UI" panose="020B0604030504040204" pitchFamily="50" charset="-128"/>
              </a:rPr>
              <a:t>　</a:t>
            </a:r>
            <a:endParaRPr kumimoji="0" lang="ja-JP" altLang="en-US" sz="1400" dirty="0">
              <a:solidFill>
                <a:prstClr val="black"/>
              </a:solidFill>
              <a:latin typeface="Meiryo UI" panose="020B0604030504040204" pitchFamily="50" charset="-128"/>
              <a:ea typeface="Meiryo UI" panose="020B0604030504040204" pitchFamily="50" charset="-128"/>
            </a:endParaRPr>
          </a:p>
        </p:txBody>
      </p:sp>
      <p:sp>
        <p:nvSpPr>
          <p:cNvPr id="14" name="正方形/長方形 13"/>
          <p:cNvSpPr/>
          <p:nvPr/>
        </p:nvSpPr>
        <p:spPr bwMode="auto">
          <a:xfrm>
            <a:off x="1363310" y="4444762"/>
            <a:ext cx="9508018" cy="632089"/>
          </a:xfrm>
          <a:prstGeom prst="rect">
            <a:avLst/>
          </a:prstGeom>
          <a:solidFill>
            <a:schemeClr val="accent2">
              <a:lumMod val="60000"/>
              <a:lumOff val="40000"/>
            </a:schemeClr>
          </a:solidFill>
          <a:ln w="9525" algn="ctr">
            <a:noFill/>
            <a:miter lim="800000"/>
            <a:headEnd/>
            <a:tailEnd/>
          </a:ln>
          <a:effectLst>
            <a:outerShdw blurRad="50800" dist="38100" dir="2700000" algn="tl" rotWithShape="0">
              <a:prstClr val="black">
                <a:alpha val="40000"/>
              </a:prstClr>
            </a:outerShdw>
          </a:effectLst>
        </p:spPr>
        <p:txBody>
          <a:bodyPr vert="horz" wrap="none" lIns="36000" tIns="10800" rIns="36000" bIns="10800" rtlCol="0" anchor="ctr">
            <a:normAutofit/>
          </a:bodyPr>
          <a:lstStyle/>
          <a:p>
            <a:pPr marL="185738" indent="-185738" defTabSz="457200">
              <a:buClr>
                <a:srgbClr val="969696"/>
              </a:buClr>
              <a:buSzPct val="80000"/>
              <a:defRPr/>
            </a:pPr>
            <a:r>
              <a:rPr lang="ja-JP" altLang="en-US" sz="2000" b="1" dirty="0">
                <a:latin typeface="Meiryo UI" panose="020B0604030504040204" pitchFamily="50" charset="-128"/>
                <a:ea typeface="Meiryo UI" panose="020B0604030504040204" pitchFamily="50" charset="-128"/>
              </a:rPr>
              <a:t>　</a:t>
            </a:r>
            <a:r>
              <a:rPr lang="ja-JP" altLang="en-US" sz="2100" b="1" dirty="0">
                <a:latin typeface="Meiryo UI" panose="020B0604030504040204" pitchFamily="50" charset="-128"/>
                <a:ea typeface="Meiryo UI" panose="020B0604030504040204" pitchFamily="50" charset="-128"/>
              </a:rPr>
              <a:t>４</a:t>
            </a:r>
            <a:r>
              <a:rPr kumimoji="0" lang="ja-JP" altLang="en-US" sz="2100" b="1" dirty="0">
                <a:latin typeface="Meiryo UI" panose="020B0604030504040204" pitchFamily="50" charset="-128"/>
                <a:ea typeface="Meiryo UI" panose="020B0604030504040204" pitchFamily="50" charset="-128"/>
              </a:rPr>
              <a:t>）既存事業の進化</a:t>
            </a:r>
            <a:endParaRPr kumimoji="0" lang="en-US" altLang="ja-JP" sz="2100" b="1" dirty="0">
              <a:latin typeface="Meiryo UI" panose="020B0604030504040204" pitchFamily="50" charset="-128"/>
              <a:ea typeface="Meiryo UI" panose="020B0604030504040204" pitchFamily="50" charset="-128"/>
            </a:endParaRPr>
          </a:p>
          <a:p>
            <a:pPr marL="185738" indent="-185738" defTabSz="457200">
              <a:buClr>
                <a:srgbClr val="969696"/>
              </a:buClr>
              <a:buSzPct val="80000"/>
              <a:defRPr/>
            </a:pPr>
            <a:r>
              <a:rPr kumimoji="0" lang="ja-JP" altLang="en-US" sz="1400" b="1" dirty="0">
                <a:latin typeface="Meiryo UI" panose="020B0604030504040204" pitchFamily="50" charset="-128"/>
                <a:ea typeface="Meiryo UI" panose="020B0604030504040204" pitchFamily="50" charset="-128"/>
              </a:rPr>
              <a:t>　　　</a:t>
            </a:r>
            <a:r>
              <a:rPr kumimoji="0" lang="ja-JP" altLang="en-US" sz="1400" dirty="0">
                <a:latin typeface="Meiryo UI" panose="020B0604030504040204" pitchFamily="50" charset="-128"/>
                <a:ea typeface="Meiryo UI" panose="020B0604030504040204" pitchFamily="50" charset="-128"/>
              </a:rPr>
              <a:t>　　　</a:t>
            </a:r>
            <a:r>
              <a:rPr kumimoji="0" lang="ja-JP" altLang="en-US" sz="1600" b="1" dirty="0">
                <a:latin typeface="Meiryo UI" panose="020B0604030504040204" pitchFamily="50" charset="-128"/>
                <a:ea typeface="Meiryo UI" panose="020B0604030504040204" pitchFamily="50" charset="-128"/>
              </a:rPr>
              <a:t> ⇒ 「最高の安全・安心」「お客さま満足度の向上」に向けた取組みを加速</a:t>
            </a:r>
            <a:endParaRPr kumimoji="0" lang="en-US" altLang="ja-JP" sz="1600" b="1" dirty="0">
              <a:latin typeface="Meiryo UI" panose="020B0604030504040204" pitchFamily="50" charset="-128"/>
              <a:ea typeface="Meiryo UI" panose="020B0604030504040204" pitchFamily="50" charset="-128"/>
            </a:endParaRPr>
          </a:p>
        </p:txBody>
      </p:sp>
      <p:sp>
        <p:nvSpPr>
          <p:cNvPr id="15" name="正方形/長方形 14"/>
          <p:cNvSpPr/>
          <p:nvPr/>
        </p:nvSpPr>
        <p:spPr bwMode="auto">
          <a:xfrm>
            <a:off x="1363310" y="2942820"/>
            <a:ext cx="9508018" cy="704638"/>
          </a:xfrm>
          <a:prstGeom prst="rect">
            <a:avLst/>
          </a:prstGeom>
          <a:solidFill>
            <a:schemeClr val="accent1">
              <a:lumMod val="60000"/>
              <a:lumOff val="40000"/>
            </a:schemeClr>
          </a:solidFill>
          <a:ln w="76200" algn="ctr">
            <a:solidFill>
              <a:srgbClr val="FF0000"/>
            </a:solidFill>
            <a:miter lim="800000"/>
            <a:headEnd/>
            <a:tailEnd/>
          </a:ln>
          <a:effectLst>
            <a:outerShdw blurRad="50800" dist="38100" dir="2700000" algn="tl" rotWithShape="0">
              <a:prstClr val="black">
                <a:alpha val="40000"/>
              </a:prstClr>
            </a:outerShdw>
          </a:effectLst>
        </p:spPr>
        <p:txBody>
          <a:bodyPr vert="horz" wrap="none" lIns="36000" tIns="10800" rIns="36000" bIns="10800" rtlCol="0" anchor="ctr">
            <a:normAutofit/>
          </a:bodyPr>
          <a:lstStyle/>
          <a:p>
            <a:pPr>
              <a:spcBef>
                <a:spcPts val="80"/>
              </a:spcBef>
              <a:defRPr/>
            </a:pPr>
            <a:r>
              <a:rPr kumimoji="0" lang="ja-JP" altLang="en-US" sz="2000" b="1" dirty="0">
                <a:latin typeface="Meiryo UI" panose="020B0604030504040204" pitchFamily="50" charset="-128"/>
                <a:ea typeface="Meiryo UI" panose="020B0604030504040204" pitchFamily="50" charset="-128"/>
              </a:rPr>
              <a:t>　</a:t>
            </a:r>
            <a:r>
              <a:rPr kumimoji="0" lang="ja-JP" altLang="en-US" sz="2100" b="1" dirty="0">
                <a:latin typeface="Meiryo UI" panose="020B0604030504040204" pitchFamily="50" charset="-128"/>
                <a:ea typeface="Meiryo UI" panose="020B0604030504040204" pitchFamily="50" charset="-128"/>
              </a:rPr>
              <a:t>２）</a:t>
            </a:r>
            <a:r>
              <a:rPr kumimoji="0" lang="en-US" altLang="ja-JP" sz="2100" b="1" dirty="0">
                <a:latin typeface="Meiryo UI" panose="020B0604030504040204" pitchFamily="50" charset="-128"/>
                <a:ea typeface="Meiryo UI" panose="020B0604030504040204" pitchFamily="50" charset="-128"/>
              </a:rPr>
              <a:t>MaaS</a:t>
            </a:r>
            <a:r>
              <a:rPr kumimoji="0" lang="ja-JP" altLang="en-US" sz="2100" b="1" dirty="0">
                <a:latin typeface="Meiryo UI" panose="020B0604030504040204" pitchFamily="50" charset="-128"/>
                <a:ea typeface="Meiryo UI" panose="020B0604030504040204" pitchFamily="50" charset="-128"/>
              </a:rPr>
              <a:t>の推進</a:t>
            </a:r>
            <a:endParaRPr lang="en-US" altLang="ja-JP" sz="2100" b="1" dirty="0">
              <a:latin typeface="Meiryo UI" panose="020B0604030504040204" pitchFamily="50" charset="-128"/>
              <a:ea typeface="Meiryo UI" panose="020B0604030504040204" pitchFamily="50" charset="-128"/>
            </a:endParaRPr>
          </a:p>
          <a:p>
            <a:pPr>
              <a:spcBef>
                <a:spcPts val="80"/>
              </a:spcBef>
              <a:defRPr/>
            </a:pPr>
            <a:r>
              <a:rPr kumimoji="0" lang="ja-JP" altLang="en-US" sz="1700" b="1" dirty="0">
                <a:latin typeface="Meiryo UI" panose="020B0604030504040204" pitchFamily="50" charset="-128"/>
                <a:ea typeface="Meiryo UI" panose="020B0604030504040204" pitchFamily="50" charset="-128"/>
              </a:rPr>
              <a:t>　　　 　　</a:t>
            </a:r>
            <a:r>
              <a:rPr kumimoji="0" lang="ja-JP" altLang="en-US" sz="1600" b="1" dirty="0">
                <a:latin typeface="Meiryo UI" panose="020B0604030504040204" pitchFamily="50" charset="-128"/>
                <a:ea typeface="Meiryo UI" panose="020B0604030504040204" pitchFamily="50" charset="-128"/>
              </a:rPr>
              <a:t>⇒次世代交通・・・利便性・快適性を向上し、移動ストレスを排除し、シームレスな移動を提供</a:t>
            </a:r>
            <a:endParaRPr kumimoji="0" lang="en-US" altLang="ja-JP" sz="1600" b="1" dirty="0">
              <a:latin typeface="Meiryo UI" panose="020B0604030504040204" pitchFamily="50" charset="-128"/>
              <a:ea typeface="Meiryo UI" panose="020B0604030504040204" pitchFamily="50" charset="-128"/>
            </a:endParaRPr>
          </a:p>
        </p:txBody>
      </p:sp>
      <p:sp>
        <p:nvSpPr>
          <p:cNvPr id="16" name="正方形/長方形 15"/>
          <p:cNvSpPr/>
          <p:nvPr/>
        </p:nvSpPr>
        <p:spPr bwMode="auto">
          <a:xfrm>
            <a:off x="1359904" y="3730066"/>
            <a:ext cx="9514830" cy="632088"/>
          </a:xfrm>
          <a:prstGeom prst="rect">
            <a:avLst/>
          </a:prstGeom>
          <a:solidFill>
            <a:schemeClr val="accent6">
              <a:lumMod val="60000"/>
              <a:lumOff val="40000"/>
            </a:schemeClr>
          </a:solidFill>
          <a:ln w="76200" algn="ctr">
            <a:solidFill>
              <a:srgbClr val="FF0000"/>
            </a:solidFill>
            <a:miter lim="800000"/>
            <a:headEnd/>
            <a:tailEnd/>
          </a:ln>
          <a:effectLst>
            <a:outerShdw blurRad="50800" dist="38100" dir="2700000" algn="tl" rotWithShape="0">
              <a:prstClr val="black">
                <a:alpha val="40000"/>
              </a:prstClr>
            </a:outerShdw>
          </a:effectLst>
        </p:spPr>
        <p:txBody>
          <a:bodyPr vert="horz" wrap="none" lIns="36000" tIns="10800" rIns="36000" bIns="10800" rtlCol="0" anchor="ctr">
            <a:normAutofit/>
          </a:bodyPr>
          <a:lstStyle/>
          <a:p>
            <a:pPr>
              <a:spcBef>
                <a:spcPts val="80"/>
              </a:spcBef>
              <a:defRPr/>
            </a:pPr>
            <a:r>
              <a:rPr kumimoji="0" lang="ja-JP" altLang="en-US" sz="2000" b="1" dirty="0">
                <a:solidFill>
                  <a:prstClr val="white"/>
                </a:solidFill>
                <a:latin typeface="Meiryo UI" panose="020B0604030504040204" pitchFamily="50" charset="-128"/>
                <a:ea typeface="Meiryo UI" panose="020B0604030504040204" pitchFamily="50" charset="-128"/>
              </a:rPr>
              <a:t>　</a:t>
            </a:r>
            <a:r>
              <a:rPr kumimoji="0" lang="ja-JP" altLang="en-US" sz="2100" b="1" dirty="0">
                <a:latin typeface="Meiryo UI" panose="020B0604030504040204" pitchFamily="50" charset="-128"/>
                <a:ea typeface="Meiryo UI" panose="020B0604030504040204" pitchFamily="50" charset="-128"/>
              </a:rPr>
              <a:t>３）都市開発（沿線開発）の推進</a:t>
            </a:r>
            <a:endParaRPr kumimoji="0" lang="en-US" altLang="ja-JP" sz="2100" b="1" dirty="0">
              <a:latin typeface="Meiryo UI" panose="020B0604030504040204" pitchFamily="50" charset="-128"/>
              <a:ea typeface="Meiryo UI" panose="020B0604030504040204" pitchFamily="50" charset="-128"/>
            </a:endParaRPr>
          </a:p>
          <a:p>
            <a:pPr>
              <a:spcBef>
                <a:spcPts val="80"/>
              </a:spcBef>
              <a:defRPr/>
            </a:pPr>
            <a:r>
              <a:rPr kumimoji="0" lang="ja-JP" altLang="en-US" sz="1400" b="1" dirty="0">
                <a:latin typeface="Meiryo UI" panose="020B0604030504040204" pitchFamily="50" charset="-128"/>
                <a:ea typeface="Meiryo UI" panose="020B0604030504040204" pitchFamily="50" charset="-128"/>
              </a:rPr>
              <a:t>　　　　　　 </a:t>
            </a:r>
            <a:r>
              <a:rPr kumimoji="0" lang="ja-JP" altLang="en-US" sz="1600" b="1" dirty="0">
                <a:latin typeface="Meiryo UI" panose="020B0604030504040204" pitchFamily="50" charset="-128"/>
                <a:ea typeface="Meiryo UI" panose="020B0604030504040204" pitchFamily="50" charset="-128"/>
              </a:rPr>
              <a:t>⇒ 沿線を大きく３つのエリアで分け、テーマ性を持った開発を行う</a:t>
            </a:r>
            <a:endParaRPr kumimoji="0" lang="en-US" altLang="ja-JP" sz="1600" b="1" dirty="0">
              <a:latin typeface="Meiryo UI" panose="020B0604030504040204" pitchFamily="50" charset="-128"/>
              <a:ea typeface="Meiryo UI" panose="020B0604030504040204" pitchFamily="50" charset="-128"/>
            </a:endParaRPr>
          </a:p>
        </p:txBody>
      </p:sp>
      <p:sp>
        <p:nvSpPr>
          <p:cNvPr id="17" name="正方形/長方形 16"/>
          <p:cNvSpPr/>
          <p:nvPr/>
        </p:nvSpPr>
        <p:spPr bwMode="auto">
          <a:xfrm>
            <a:off x="1363259" y="5162242"/>
            <a:ext cx="9508121" cy="720686"/>
          </a:xfrm>
          <a:prstGeom prst="rect">
            <a:avLst/>
          </a:prstGeom>
          <a:solidFill>
            <a:schemeClr val="tx2">
              <a:lumMod val="40000"/>
              <a:lumOff val="60000"/>
            </a:schemeClr>
          </a:solidFill>
          <a:ln w="9525" algn="ctr">
            <a:noFill/>
            <a:miter lim="800000"/>
            <a:headEnd/>
            <a:tailEnd/>
          </a:ln>
          <a:effectLst>
            <a:outerShdw blurRad="50800" dist="38100" dir="2700000" algn="tl" rotWithShape="0">
              <a:prstClr val="black">
                <a:alpha val="40000"/>
              </a:prstClr>
            </a:outerShdw>
          </a:effectLst>
        </p:spPr>
        <p:txBody>
          <a:bodyPr vert="horz" wrap="none" lIns="36000" tIns="10800" rIns="36000" bIns="10800" rtlCol="0" anchor="ctr">
            <a:normAutofit/>
          </a:bodyPr>
          <a:lstStyle/>
          <a:p>
            <a:pPr>
              <a:spcBef>
                <a:spcPts val="80"/>
              </a:spcBef>
              <a:defRPr/>
            </a:pPr>
            <a:r>
              <a:rPr lang="ja-JP" altLang="en-US" sz="2000" b="1" dirty="0">
                <a:latin typeface="Meiryo UI" panose="020B0604030504040204" pitchFamily="50" charset="-128"/>
                <a:ea typeface="Meiryo UI" panose="020B0604030504040204" pitchFamily="50" charset="-128"/>
              </a:rPr>
              <a:t>　</a:t>
            </a:r>
            <a:r>
              <a:rPr lang="ja-JP" altLang="en-US" sz="2100" b="1" dirty="0">
                <a:latin typeface="Meiryo UI" panose="020B0604030504040204" pitchFamily="50" charset="-128"/>
                <a:ea typeface="Meiryo UI" panose="020B0604030504040204" pitchFamily="50" charset="-128"/>
              </a:rPr>
              <a:t>５）</a:t>
            </a:r>
            <a:r>
              <a:rPr kumimoji="0" lang="ja-JP" altLang="en-US" sz="2100" b="1" dirty="0">
                <a:latin typeface="Meiryo UI" panose="020B0604030504040204" pitchFamily="50" charset="-128"/>
                <a:ea typeface="Meiryo UI" panose="020B0604030504040204" pitchFamily="50" charset="-128"/>
              </a:rPr>
              <a:t>経営の質的向上</a:t>
            </a:r>
            <a:endParaRPr kumimoji="0" lang="en-US" altLang="ja-JP" sz="2100" b="1" dirty="0">
              <a:latin typeface="Meiryo UI" panose="020B0604030504040204" pitchFamily="50" charset="-128"/>
              <a:ea typeface="Meiryo UI" panose="020B0604030504040204" pitchFamily="50" charset="-128"/>
            </a:endParaRPr>
          </a:p>
          <a:p>
            <a:pPr marL="171450" lvl="1">
              <a:spcBef>
                <a:spcPts val="80"/>
              </a:spcBef>
              <a:defRPr/>
            </a:pPr>
            <a:r>
              <a:rPr kumimoji="0" lang="ja-JP" altLang="en-US" sz="1400" b="1" dirty="0">
                <a:latin typeface="Meiryo UI" panose="020B0604030504040204" pitchFamily="50" charset="-128"/>
                <a:ea typeface="Meiryo UI" panose="020B0604030504040204" pitchFamily="50" charset="-128"/>
              </a:rPr>
              <a:t>　　 　　 </a:t>
            </a:r>
            <a:r>
              <a:rPr kumimoji="0" lang="ja-JP" altLang="en-US" sz="1600" b="1" dirty="0">
                <a:latin typeface="Meiryo UI" panose="020B0604030504040204" pitchFamily="50" charset="-128"/>
                <a:ea typeface="Meiryo UI" panose="020B0604030504040204" pitchFamily="50" charset="-128"/>
              </a:rPr>
              <a:t>⇒ 人・組織づくり、ガバナンス、環境・社会活動、</a:t>
            </a:r>
            <a:r>
              <a:rPr kumimoji="0" lang="en-US" altLang="ja-JP" sz="1600" b="1" dirty="0">
                <a:latin typeface="Meiryo UI" panose="020B0604030504040204" pitchFamily="50" charset="-128"/>
                <a:ea typeface="Meiryo UI" panose="020B0604030504040204" pitchFamily="50" charset="-128"/>
              </a:rPr>
              <a:t>DX</a:t>
            </a:r>
            <a:r>
              <a:rPr kumimoji="0" lang="ja-JP" altLang="en-US" sz="1600" b="1" dirty="0">
                <a:latin typeface="Meiryo UI" panose="020B0604030504040204" pitchFamily="50" charset="-128"/>
                <a:ea typeface="Meiryo UI" panose="020B0604030504040204" pitchFamily="50" charset="-128"/>
              </a:rPr>
              <a:t>（デジタルトランスフォーメーション）整備等</a:t>
            </a:r>
          </a:p>
        </p:txBody>
      </p:sp>
      <p:sp>
        <p:nvSpPr>
          <p:cNvPr id="12" name="正方形/長方形 11">
            <a:extLst>
              <a:ext uri="{FF2B5EF4-FFF2-40B4-BE49-F238E27FC236}">
                <a16:creationId xmlns:a16="http://schemas.microsoft.com/office/drawing/2014/main" id="{6B3D95B8-2B2E-4839-8A70-67114A22F370}"/>
              </a:ext>
            </a:extLst>
          </p:cNvPr>
          <p:cNvSpPr/>
          <p:nvPr/>
        </p:nvSpPr>
        <p:spPr bwMode="auto">
          <a:xfrm>
            <a:off x="1363309" y="2140075"/>
            <a:ext cx="9508020" cy="720137"/>
          </a:xfrm>
          <a:prstGeom prst="rect">
            <a:avLst/>
          </a:prstGeom>
          <a:solidFill>
            <a:schemeClr val="accent4">
              <a:lumMod val="60000"/>
              <a:lumOff val="40000"/>
            </a:schemeClr>
          </a:solidFill>
          <a:ln w="9525" algn="ctr">
            <a:noFill/>
            <a:miter lim="800000"/>
            <a:headEnd/>
            <a:tailEnd/>
          </a:ln>
          <a:effectLst>
            <a:outerShdw blurRad="50800" dist="38100" dir="2700000" algn="tl" rotWithShape="0">
              <a:prstClr val="black">
                <a:alpha val="40000"/>
              </a:prstClr>
            </a:outerShdw>
          </a:effectLst>
        </p:spPr>
        <p:txBody>
          <a:bodyPr vert="horz" wrap="none" lIns="36000" tIns="10800" rIns="36000" bIns="10800" rtlCol="0" anchor="ctr">
            <a:normAutofit/>
          </a:bodyPr>
          <a:lstStyle/>
          <a:p>
            <a:pPr marL="185738" indent="-185738" defTabSz="457200">
              <a:buClr>
                <a:srgbClr val="969696"/>
              </a:buClr>
              <a:buSzPct val="80000"/>
              <a:defRPr/>
            </a:pPr>
            <a:r>
              <a:rPr kumimoji="0" lang="ja-JP" altLang="en-US" sz="2000" b="1" dirty="0">
                <a:latin typeface="Meiryo UI" panose="020B0604030504040204" pitchFamily="50" charset="-128"/>
                <a:ea typeface="Meiryo UI" panose="020B0604030504040204" pitchFamily="50" charset="-128"/>
              </a:rPr>
              <a:t>　</a:t>
            </a:r>
            <a:r>
              <a:rPr kumimoji="0" lang="ja-JP" altLang="en-US" sz="2100" b="1" dirty="0">
                <a:latin typeface="Meiryo UI" panose="020B0604030504040204" pitchFamily="50" charset="-128"/>
                <a:ea typeface="Meiryo UI" panose="020B0604030504040204" pitchFamily="50" charset="-128"/>
              </a:rPr>
              <a:t>１）デジタルマーケティングの推進</a:t>
            </a:r>
            <a:endParaRPr kumimoji="0" lang="en-US" altLang="ja-JP" sz="2100" b="1" dirty="0">
              <a:latin typeface="Meiryo UI" panose="020B0604030504040204" pitchFamily="50" charset="-128"/>
              <a:ea typeface="Meiryo UI" panose="020B0604030504040204" pitchFamily="50" charset="-128"/>
            </a:endParaRPr>
          </a:p>
          <a:p>
            <a:pPr marL="185738" indent="-185738" defTabSz="457200">
              <a:buClr>
                <a:srgbClr val="969696"/>
              </a:buClr>
              <a:buSzPct val="80000"/>
              <a:defRPr/>
            </a:pPr>
            <a:r>
              <a:rPr kumimoji="0" lang="ja-JP" altLang="en-US" sz="1400" b="1" dirty="0">
                <a:latin typeface="Meiryo UI" panose="020B0604030504040204" pitchFamily="50" charset="-128"/>
                <a:ea typeface="Meiryo UI" panose="020B0604030504040204" pitchFamily="50" charset="-128"/>
              </a:rPr>
              <a:t>　　　</a:t>
            </a:r>
            <a:r>
              <a:rPr kumimoji="0" lang="ja-JP" altLang="en-US" sz="1400" dirty="0">
                <a:latin typeface="Meiryo UI" panose="020B0604030504040204" pitchFamily="50" charset="-128"/>
                <a:ea typeface="Meiryo UI" panose="020B0604030504040204" pitchFamily="50" charset="-128"/>
              </a:rPr>
              <a:t>　 　　</a:t>
            </a:r>
            <a:r>
              <a:rPr lang="ja-JP" altLang="en-US" sz="1600" b="1" dirty="0">
                <a:latin typeface="Meiryo UI" panose="020B0604030504040204" pitchFamily="50" charset="-128"/>
                <a:ea typeface="Meiryo UI" panose="020B0604030504040204" pitchFamily="50" charset="-128"/>
              </a:rPr>
              <a:t>⇒社内外との事業シナジーの創出（お客さまの移動・行動データに基づき上質な体験</a:t>
            </a:r>
            <a:r>
              <a:rPr lang="en-US" altLang="ja-JP" sz="1600" b="1" dirty="0">
                <a:latin typeface="Meiryo UI" panose="020B0604030504040204" pitchFamily="50" charset="-128"/>
                <a:ea typeface="Meiryo UI" panose="020B0604030504040204" pitchFamily="50" charset="-128"/>
              </a:rPr>
              <a:t>/</a:t>
            </a:r>
            <a:r>
              <a:rPr lang="ja-JP" altLang="en-US" sz="1600" b="1" dirty="0">
                <a:latin typeface="Meiryo UI" panose="020B0604030504040204" pitchFamily="50" charset="-128"/>
                <a:ea typeface="Meiryo UI" panose="020B0604030504040204" pitchFamily="50" charset="-128"/>
              </a:rPr>
              <a:t>生活を提案）</a:t>
            </a:r>
            <a:endParaRPr lang="en-US" altLang="ja-JP" sz="1600" b="1"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07992178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正方形/長方形 36"/>
          <p:cNvSpPr/>
          <p:nvPr/>
        </p:nvSpPr>
        <p:spPr>
          <a:xfrm>
            <a:off x="782792" y="3362196"/>
            <a:ext cx="10762764" cy="2730873"/>
          </a:xfrm>
          <a:prstGeom prst="rect">
            <a:avLst/>
          </a:prstGeom>
          <a:solidFill>
            <a:srgbClr val="8080D2"/>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二等辺三角形 38"/>
          <p:cNvSpPr/>
          <p:nvPr/>
        </p:nvSpPr>
        <p:spPr>
          <a:xfrm rot="10800000">
            <a:off x="4479535" y="3167254"/>
            <a:ext cx="2105025" cy="580055"/>
          </a:xfrm>
          <a:prstGeom prst="triangle">
            <a:avLst>
              <a:gd name="adj" fmla="val 49879"/>
            </a:avLst>
          </a:prstGeom>
          <a:solidFill>
            <a:schemeClr val="bg1"/>
          </a:solidFill>
          <a:ln w="952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右矢印 31"/>
          <p:cNvSpPr/>
          <p:nvPr/>
        </p:nvSpPr>
        <p:spPr>
          <a:xfrm>
            <a:off x="4087303" y="4035205"/>
            <a:ext cx="2793099" cy="669289"/>
          </a:xfrm>
          <a:prstGeom prst="rightArrow">
            <a:avLst>
              <a:gd name="adj1" fmla="val 50000"/>
              <a:gd name="adj2" fmla="val 74194"/>
            </a:avLst>
          </a:prstGeom>
          <a:gradFill>
            <a:gsLst>
              <a:gs pos="100000">
                <a:schemeClr val="accent4"/>
              </a:gs>
              <a:gs pos="3000">
                <a:srgbClr val="8080D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フリーフォーム 40"/>
          <p:cNvSpPr/>
          <p:nvPr/>
        </p:nvSpPr>
        <p:spPr>
          <a:xfrm rot="10800000">
            <a:off x="782792" y="1451701"/>
            <a:ext cx="10762764" cy="2158274"/>
          </a:xfrm>
          <a:custGeom>
            <a:avLst/>
            <a:gdLst>
              <a:gd name="connsiteX0" fmla="*/ 10762764 w 10762764"/>
              <a:gd name="connsiteY0" fmla="*/ 2158274 h 2158274"/>
              <a:gd name="connsiteX1" fmla="*/ 0 w 10762764"/>
              <a:gd name="connsiteY1" fmla="*/ 2158274 h 2158274"/>
              <a:gd name="connsiteX2" fmla="*/ 0 w 10762764"/>
              <a:gd name="connsiteY2" fmla="*/ 361618 h 2158274"/>
              <a:gd name="connsiteX3" fmla="*/ 5340543 w 10762764"/>
              <a:gd name="connsiteY3" fmla="*/ 361618 h 2158274"/>
              <a:gd name="connsiteX4" fmla="*/ 6006523 w 10762764"/>
              <a:gd name="connsiteY4" fmla="*/ 0 h 2158274"/>
              <a:gd name="connsiteX5" fmla="*/ 6672503 w 10762764"/>
              <a:gd name="connsiteY5" fmla="*/ 361618 h 2158274"/>
              <a:gd name="connsiteX6" fmla="*/ 10762764 w 10762764"/>
              <a:gd name="connsiteY6" fmla="*/ 361618 h 2158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62764" h="2158274">
                <a:moveTo>
                  <a:pt x="10762764" y="2158274"/>
                </a:moveTo>
                <a:lnTo>
                  <a:pt x="0" y="2158274"/>
                </a:lnTo>
                <a:lnTo>
                  <a:pt x="0" y="361618"/>
                </a:lnTo>
                <a:lnTo>
                  <a:pt x="5340543" y="361618"/>
                </a:lnTo>
                <a:lnTo>
                  <a:pt x="6006523" y="0"/>
                </a:lnTo>
                <a:lnTo>
                  <a:pt x="6672503" y="361618"/>
                </a:lnTo>
                <a:lnTo>
                  <a:pt x="10762764" y="361618"/>
                </a:lnTo>
                <a:close/>
              </a:path>
            </a:pathLst>
          </a:custGeom>
          <a:solidFill>
            <a:schemeClr val="bg1">
              <a:lumMod val="85000"/>
            </a:schemeClr>
          </a:solidFill>
          <a:ln w="952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a:p>
        </p:txBody>
      </p:sp>
      <p:sp>
        <p:nvSpPr>
          <p:cNvPr id="9" name="角丸四角形 8"/>
          <p:cNvSpPr/>
          <p:nvPr/>
        </p:nvSpPr>
        <p:spPr>
          <a:xfrm>
            <a:off x="971751" y="3959263"/>
            <a:ext cx="3115552" cy="1975856"/>
          </a:xfrm>
          <a:prstGeom prst="roundRect">
            <a:avLst>
              <a:gd name="adj" fmla="val 6419"/>
            </a:avLst>
          </a:prstGeom>
          <a:solidFill>
            <a:srgbClr val="FFDE7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0" name="図 9"/>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2436294" y="1567815"/>
            <a:ext cx="2165663" cy="1599440"/>
          </a:xfrm>
          <a:prstGeom prst="rect">
            <a:avLst/>
          </a:prstGeom>
        </p:spPr>
      </p:pic>
      <p:pic>
        <p:nvPicPr>
          <p:cNvPr id="11" name="図 10"/>
          <p:cNvPicPr>
            <a:picLocks noChangeAspect="1"/>
          </p:cNvPicPr>
          <p:nvPr/>
        </p:nvPicPr>
        <p:blipFill>
          <a:blip r:embed="rId4" cstate="print">
            <a:extLst>
              <a:ext uri="{BEBA8EAE-BF5A-486C-A8C5-ECC9F3942E4B}">
                <a14:imgProps xmlns:a14="http://schemas.microsoft.com/office/drawing/2010/main">
                  <a14:imgLayer r:embed="rId5">
                    <a14:imgEffect>
                      <a14:backgroundRemoval t="195" b="98444" l="4430" r="93460">
                        <a14:foregroundMark x1="50000" y1="36965" x2="50000" y2="36965"/>
                        <a14:foregroundMark x1="56751" y1="35798" x2="56751" y2="35798"/>
                        <a14:foregroundMark x1="56751" y1="41634" x2="56751" y2="41634"/>
                        <a14:foregroundMark x1="50633" y1="42802" x2="50633" y2="42802"/>
                      </a14:backgroundRemoval>
                    </a14:imgEffect>
                  </a14:imgLayer>
                </a14:imgProps>
              </a:ext>
              <a:ext uri="{28A0092B-C50C-407E-A947-70E740481C1C}">
                <a14:useLocalDpi xmlns:a14="http://schemas.microsoft.com/office/drawing/2010/main" val="0"/>
              </a:ext>
            </a:extLst>
          </a:blip>
          <a:stretch>
            <a:fillRect/>
          </a:stretch>
        </p:blipFill>
        <p:spPr>
          <a:xfrm>
            <a:off x="5778694" y="1551874"/>
            <a:ext cx="1558635" cy="1690165"/>
          </a:xfrm>
          <a:prstGeom prst="rect">
            <a:avLst/>
          </a:prstGeom>
        </p:spPr>
      </p:pic>
      <p:sp>
        <p:nvSpPr>
          <p:cNvPr id="16" name="テキスト ボックス 15"/>
          <p:cNvSpPr txBox="1"/>
          <p:nvPr/>
        </p:nvSpPr>
        <p:spPr>
          <a:xfrm>
            <a:off x="1152387" y="4038617"/>
            <a:ext cx="2754280" cy="369333"/>
          </a:xfrm>
          <a:prstGeom prst="rect">
            <a:avLst/>
          </a:prstGeom>
          <a:noFill/>
        </p:spPr>
        <p:txBody>
          <a:bodyPr wrap="none" rtlCol="0">
            <a:spAutoFit/>
          </a:bodyPr>
          <a:lstStyle/>
          <a:p>
            <a:r>
              <a:rPr kumimoji="1" lang="ja-JP" altLang="en-US" b="1" dirty="0" smtClean="0">
                <a:latin typeface="Meiryo UI" panose="020B0604030504040204" pitchFamily="50" charset="-128"/>
                <a:ea typeface="Meiryo UI" panose="020B0604030504040204" pitchFamily="50" charset="-128"/>
              </a:rPr>
              <a:t>デジタル化、</a:t>
            </a:r>
            <a:r>
              <a:rPr kumimoji="1" lang="en-US" altLang="ja-JP" b="1" dirty="0" smtClean="0">
                <a:latin typeface="Meiryo UI" panose="020B0604030504040204" pitchFamily="50" charset="-128"/>
                <a:ea typeface="Meiryo UI" panose="020B0604030504040204" pitchFamily="50" charset="-128"/>
              </a:rPr>
              <a:t>AI</a:t>
            </a:r>
            <a:r>
              <a:rPr kumimoji="1" lang="ja-JP" altLang="en-US" b="1" dirty="0" smtClean="0">
                <a:latin typeface="Meiryo UI" panose="020B0604030504040204" pitchFamily="50" charset="-128"/>
                <a:ea typeface="Meiryo UI" panose="020B0604030504040204" pitchFamily="50" charset="-128"/>
              </a:rPr>
              <a:t>社会の推進</a:t>
            </a:r>
            <a:endParaRPr kumimoji="1" lang="ja-JP" altLang="en-US" b="1" dirty="0">
              <a:latin typeface="Meiryo UI" panose="020B0604030504040204" pitchFamily="50" charset="-128"/>
              <a:ea typeface="Meiryo UI" panose="020B0604030504040204" pitchFamily="50" charset="-128"/>
            </a:endParaRPr>
          </a:p>
        </p:txBody>
      </p:sp>
      <p:pic>
        <p:nvPicPr>
          <p:cNvPr id="27" name="図 26"/>
          <p:cNvPicPr>
            <a:picLocks noChangeAspect="1"/>
          </p:cNvPicPr>
          <p:nvPr/>
        </p:nvPicPr>
        <p:blipFill>
          <a:blip r:embed="rId6" cstate="print">
            <a:extLst>
              <a:ext uri="{BEBA8EAE-BF5A-486C-A8C5-ECC9F3942E4B}">
                <a14:imgProps xmlns:a14="http://schemas.microsoft.com/office/drawing/2010/main">
                  <a14:imgLayer r:embed="rId7">
                    <a14:imgEffect>
                      <a14:backgroundRemoval t="8019" b="97877" l="2110" r="97890">
                        <a14:foregroundMark x1="26582" y1="35377" x2="26582" y2="35377"/>
                        <a14:foregroundMark x1="24473" y1="43160" x2="24473" y2="43160"/>
                        <a14:foregroundMark x1="14346" y1="52358" x2="14346" y2="52358"/>
                        <a14:foregroundMark x1="19620" y1="48349" x2="19620" y2="48349"/>
                        <a14:foregroundMark x1="37553" y1="40330" x2="37553" y2="40330"/>
                        <a14:foregroundMark x1="10759" y1="43160" x2="10759" y2="43160"/>
                        <a14:foregroundMark x1="25105" y1="57783" x2="25105" y2="57783"/>
                        <a14:foregroundMark x1="13924" y1="63208" x2="13924" y2="63208"/>
                        <a14:foregroundMark x1="23840" y1="67925" x2="23840" y2="67925"/>
                        <a14:foregroundMark x1="37764" y1="51651" x2="37764" y2="51651"/>
                        <a14:foregroundMark x1="81435" y1="56840" x2="81435" y2="56840"/>
                        <a14:foregroundMark x1="69198" y1="61321" x2="69198" y2="61321"/>
                        <a14:foregroundMark x1="61181" y1="65802" x2="61181" y2="65802"/>
                        <a14:foregroundMark x1="38397" y1="26651" x2="38397" y2="26651"/>
                        <a14:foregroundMark x1="42827" y1="12736" x2="42827" y2="12736"/>
                        <a14:foregroundMark x1="78692" y1="14151" x2="78692" y2="14151"/>
                        <a14:foregroundMark x1="88819" y1="29009" x2="88819" y2="29009"/>
                        <a14:foregroundMark x1="87553" y1="41745" x2="87553" y2="41745"/>
                        <a14:foregroundMark x1="80169" y1="62264" x2="80169" y2="62264"/>
                        <a14:foregroundMark x1="73840" y1="66745" x2="73840" y2="66745"/>
                        <a14:foregroundMark x1="20886" y1="36792" x2="20886" y2="36792"/>
                      </a14:backgroundRemoval>
                    </a14:imgEffect>
                  </a14:imgLayer>
                </a14:imgProps>
              </a:ext>
              <a:ext uri="{28A0092B-C50C-407E-A947-70E740481C1C}">
                <a14:useLocalDpi xmlns:a14="http://schemas.microsoft.com/office/drawing/2010/main" val="0"/>
              </a:ext>
            </a:extLst>
          </a:blip>
          <a:stretch>
            <a:fillRect/>
          </a:stretch>
        </p:blipFill>
        <p:spPr>
          <a:xfrm>
            <a:off x="8421123" y="1413758"/>
            <a:ext cx="2061220" cy="1843792"/>
          </a:xfrm>
          <a:prstGeom prst="rect">
            <a:avLst/>
          </a:prstGeom>
        </p:spPr>
      </p:pic>
      <p:pic>
        <p:nvPicPr>
          <p:cNvPr id="2" name="図 1"/>
          <p:cNvPicPr>
            <a:picLocks noChangeAspect="1"/>
          </p:cNvPicPr>
          <p:nvPr/>
        </p:nvPicPr>
        <p:blipFill>
          <a:blip r:embed="rId8" cstate="print">
            <a:extLst>
              <a:ext uri="{BEBA8EAE-BF5A-486C-A8C5-ECC9F3942E4B}">
                <a14:imgProps xmlns:a14="http://schemas.microsoft.com/office/drawing/2010/main">
                  <a14:imgLayer r:embed="rId9">
                    <a14:imgEffect>
                      <a14:backgroundRemoval t="391" b="100000" l="0" r="100000"/>
                    </a14:imgEffect>
                  </a14:imgLayer>
                </a14:imgProps>
              </a:ext>
              <a:ext uri="{28A0092B-C50C-407E-A947-70E740481C1C}">
                <a14:useLocalDpi xmlns:a14="http://schemas.microsoft.com/office/drawing/2010/main" val="0"/>
              </a:ext>
            </a:extLst>
          </a:blip>
          <a:stretch>
            <a:fillRect/>
          </a:stretch>
        </p:blipFill>
        <p:spPr>
          <a:xfrm>
            <a:off x="1153774" y="4509777"/>
            <a:ext cx="1250311" cy="1350547"/>
          </a:xfrm>
          <a:prstGeom prst="rect">
            <a:avLst/>
          </a:prstGeom>
        </p:spPr>
      </p:pic>
      <p:sp>
        <p:nvSpPr>
          <p:cNvPr id="14" name="テキスト ボックス 13"/>
          <p:cNvSpPr txBox="1"/>
          <p:nvPr/>
        </p:nvSpPr>
        <p:spPr>
          <a:xfrm>
            <a:off x="868517" y="1581150"/>
            <a:ext cx="1534590" cy="461665"/>
          </a:xfrm>
          <a:prstGeom prst="rect">
            <a:avLst/>
          </a:prstGeom>
          <a:noFill/>
        </p:spPr>
        <p:txBody>
          <a:bodyPr wrap="square" rtlCol="0">
            <a:spAutoFit/>
          </a:bodyPr>
          <a:lstStyle/>
          <a:p>
            <a:r>
              <a:rPr lang="ja-JP" altLang="en-US" sz="2400" dirty="0" smtClean="0">
                <a:latin typeface="Meiryo UI" panose="020B0604030504040204" pitchFamily="50" charset="-128"/>
                <a:ea typeface="Meiryo UI" panose="020B0604030504040204" pitchFamily="50" charset="-128"/>
              </a:rPr>
              <a:t>今までは</a:t>
            </a:r>
            <a:endParaRPr kumimoji="1" lang="ja-JP" altLang="en-US" sz="2400" dirty="0">
              <a:latin typeface="Meiryo UI" panose="020B0604030504040204" pitchFamily="50" charset="-128"/>
              <a:ea typeface="Meiryo UI" panose="020B0604030504040204" pitchFamily="50" charset="-128"/>
            </a:endParaRPr>
          </a:p>
        </p:txBody>
      </p:sp>
      <p:pic>
        <p:nvPicPr>
          <p:cNvPr id="8" name="図 7"/>
          <p:cNvPicPr>
            <a:picLocks noChangeAspect="1"/>
          </p:cNvPicPr>
          <p:nvPr/>
        </p:nvPicPr>
        <p:blipFill>
          <a:blip r:embed="rId10" cstate="print">
            <a:extLst>
              <a:ext uri="{BEBA8EAE-BF5A-486C-A8C5-ECC9F3942E4B}">
                <a14:imgProps xmlns:a14="http://schemas.microsoft.com/office/drawing/2010/main">
                  <a14:imgLayer r:embed="rId11">
                    <a14:imgEffect>
                      <a14:backgroundRemoval t="0" b="94431" l="0" r="100000"/>
                    </a14:imgEffect>
                  </a14:imgLayer>
                </a14:imgProps>
              </a:ext>
              <a:ext uri="{28A0092B-C50C-407E-A947-70E740481C1C}">
                <a14:useLocalDpi xmlns:a14="http://schemas.microsoft.com/office/drawing/2010/main" val="0"/>
              </a:ext>
            </a:extLst>
          </a:blip>
          <a:stretch>
            <a:fillRect/>
          </a:stretch>
        </p:blipFill>
        <p:spPr>
          <a:xfrm>
            <a:off x="2480862" y="4535632"/>
            <a:ext cx="1397288" cy="1217468"/>
          </a:xfrm>
          <a:prstGeom prst="rect">
            <a:avLst/>
          </a:prstGeom>
        </p:spPr>
      </p:pic>
      <p:sp>
        <p:nvSpPr>
          <p:cNvPr id="29" name="テキスト ボックス 28"/>
          <p:cNvSpPr txBox="1"/>
          <p:nvPr/>
        </p:nvSpPr>
        <p:spPr>
          <a:xfrm>
            <a:off x="782792" y="817325"/>
            <a:ext cx="1415772" cy="514738"/>
          </a:xfrm>
          <a:prstGeom prst="rect">
            <a:avLst/>
          </a:prstGeom>
          <a:solidFill>
            <a:srgbClr val="33328B"/>
          </a:solidFill>
        </p:spPr>
        <p:txBody>
          <a:bodyPr wrap="none" tIns="72000" bIns="72000" rtlCol="0">
            <a:spAutoFit/>
          </a:bodyPr>
          <a:lstStyle/>
          <a:p>
            <a:r>
              <a:rPr lang="ja-JP" altLang="en-US" sz="2400" b="1" dirty="0" smtClean="0">
                <a:solidFill>
                  <a:schemeClr val="bg1"/>
                </a:solidFill>
                <a:latin typeface="Meiryo UI" panose="020B0604030504040204" pitchFamily="50" charset="-128"/>
                <a:ea typeface="Meiryo UI" panose="020B0604030504040204" pitchFamily="50" charset="-128"/>
              </a:rPr>
              <a:t>勤務</a:t>
            </a:r>
            <a:r>
              <a:rPr lang="ja-JP" altLang="en-US" sz="2400" b="1" dirty="0">
                <a:solidFill>
                  <a:schemeClr val="bg1"/>
                </a:solidFill>
                <a:latin typeface="Meiryo UI" panose="020B0604030504040204" pitchFamily="50" charset="-128"/>
                <a:ea typeface="Meiryo UI" panose="020B0604030504040204" pitchFamily="50" charset="-128"/>
              </a:rPr>
              <a:t>形態</a:t>
            </a:r>
          </a:p>
        </p:txBody>
      </p:sp>
      <p:sp>
        <p:nvSpPr>
          <p:cNvPr id="33" name="タイトル 5"/>
          <p:cNvSpPr>
            <a:spLocks noGrp="1"/>
          </p:cNvSpPr>
          <p:nvPr>
            <p:ph type="title"/>
          </p:nvPr>
        </p:nvSpPr>
        <p:spPr/>
        <p:txBody>
          <a:bodyPr>
            <a:normAutofit/>
          </a:bodyPr>
          <a:lstStyle/>
          <a:p>
            <a:r>
              <a:rPr lang="en-US" altLang="ja-JP" dirty="0" smtClean="0">
                <a:latin typeface="Meiryo UI" panose="020B0604030504040204" pitchFamily="50" charset="-128"/>
                <a:ea typeface="Meiryo UI" panose="020B0604030504040204" pitchFamily="50" charset="-128"/>
              </a:rPr>
              <a:t>1-3</a:t>
            </a:r>
            <a:r>
              <a:rPr lang="ja-JP" altLang="en-US" dirty="0" smtClean="0">
                <a:latin typeface="Meiryo UI" panose="020B0604030504040204" pitchFamily="50" charset="-128"/>
                <a:ea typeface="Meiryo UI" panose="020B0604030504040204" pitchFamily="50" charset="-128"/>
              </a:rPr>
              <a:t>　現状と目指す姿　　～企業</a:t>
            </a:r>
            <a:r>
              <a:rPr lang="ja-JP" altLang="en-US" dirty="0">
                <a:latin typeface="Meiryo UI" panose="020B0604030504040204" pitchFamily="50" charset="-128"/>
                <a:ea typeface="Meiryo UI" panose="020B0604030504040204" pitchFamily="50" charset="-128"/>
              </a:rPr>
              <a:t>環境の変化</a:t>
            </a:r>
          </a:p>
        </p:txBody>
      </p:sp>
      <p:sp>
        <p:nvSpPr>
          <p:cNvPr id="36" name="テキスト ボックス 35"/>
          <p:cNvSpPr txBox="1"/>
          <p:nvPr/>
        </p:nvSpPr>
        <p:spPr>
          <a:xfrm>
            <a:off x="849466" y="3424817"/>
            <a:ext cx="2117860" cy="461665"/>
          </a:xfrm>
          <a:prstGeom prst="rect">
            <a:avLst/>
          </a:prstGeom>
          <a:noFill/>
        </p:spPr>
        <p:txBody>
          <a:bodyPr wrap="square" rtlCol="0">
            <a:spAutoFit/>
          </a:bodyPr>
          <a:lstStyle/>
          <a:p>
            <a:r>
              <a:rPr lang="ja-JP" altLang="en-US" sz="2400" b="1" dirty="0">
                <a:solidFill>
                  <a:schemeClr val="bg1"/>
                </a:solidFill>
                <a:latin typeface="Meiryo UI" panose="020B0604030504040204" pitchFamily="50" charset="-128"/>
                <a:ea typeface="Meiryo UI" panose="020B0604030504040204" pitchFamily="50" charset="-128"/>
              </a:rPr>
              <a:t> </a:t>
            </a:r>
            <a:r>
              <a:rPr lang="ja-JP" altLang="en-US" sz="2400" b="1" dirty="0" smtClean="0">
                <a:solidFill>
                  <a:schemeClr val="bg1"/>
                </a:solidFill>
                <a:latin typeface="Meiryo UI" panose="020B0604030504040204" pitchFamily="50" charset="-128"/>
                <a:ea typeface="Meiryo UI" panose="020B0604030504040204" pitchFamily="50" charset="-128"/>
              </a:rPr>
              <a:t>これから</a:t>
            </a:r>
            <a:r>
              <a:rPr lang="ja-JP" altLang="en-US" sz="2400" b="1" dirty="0">
                <a:solidFill>
                  <a:schemeClr val="bg1"/>
                </a:solidFill>
                <a:latin typeface="Meiryo UI" panose="020B0604030504040204" pitchFamily="50" charset="-128"/>
                <a:ea typeface="Meiryo UI" panose="020B0604030504040204" pitchFamily="50" charset="-128"/>
              </a:rPr>
              <a:t>は</a:t>
            </a:r>
            <a:r>
              <a:rPr lang="en-US" altLang="ja-JP" sz="2400" b="1" dirty="0" smtClean="0">
                <a:solidFill>
                  <a:schemeClr val="bg1"/>
                </a:solidFill>
                <a:latin typeface="Meiryo UI" panose="020B0604030504040204" pitchFamily="50" charset="-128"/>
                <a:ea typeface="Meiryo UI" panose="020B0604030504040204" pitchFamily="50" charset="-128"/>
              </a:rPr>
              <a:t>…</a:t>
            </a:r>
            <a:endParaRPr lang="ja-JP" altLang="en-US" sz="2400" b="1" dirty="0">
              <a:solidFill>
                <a:schemeClr val="bg1"/>
              </a:solidFill>
              <a:latin typeface="Meiryo UI" panose="020B0604030504040204" pitchFamily="50" charset="-128"/>
              <a:ea typeface="Meiryo UI" panose="020B0604030504040204" pitchFamily="50" charset="-128"/>
            </a:endParaRPr>
          </a:p>
        </p:txBody>
      </p:sp>
      <p:sp>
        <p:nvSpPr>
          <p:cNvPr id="38" name="角丸四角形 37"/>
          <p:cNvSpPr/>
          <p:nvPr/>
        </p:nvSpPr>
        <p:spPr>
          <a:xfrm>
            <a:off x="6962546" y="3515480"/>
            <a:ext cx="4391254" cy="2419639"/>
          </a:xfrm>
          <a:prstGeom prst="roundRect">
            <a:avLst>
              <a:gd name="adj" fmla="val 6419"/>
            </a:avLst>
          </a:prstGeom>
          <a:solidFill>
            <a:srgbClr val="FFDE7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テキスト ボックス 27"/>
          <p:cNvSpPr txBox="1"/>
          <p:nvPr/>
        </p:nvSpPr>
        <p:spPr>
          <a:xfrm>
            <a:off x="7026855" y="3540847"/>
            <a:ext cx="4259499" cy="784830"/>
          </a:xfrm>
          <a:prstGeom prst="rect">
            <a:avLst/>
          </a:prstGeom>
          <a:noFill/>
        </p:spPr>
        <p:txBody>
          <a:bodyPr wrap="none" rtlCol="0">
            <a:spAutoFit/>
          </a:bodyPr>
          <a:lstStyle/>
          <a:p>
            <a:pPr algn="ctr"/>
            <a:r>
              <a:rPr kumimoji="1" lang="ja-JP" altLang="en-US" sz="2000" b="1" dirty="0" smtClean="0">
                <a:solidFill>
                  <a:srgbClr val="33328B"/>
                </a:solidFill>
                <a:latin typeface="Meiryo UI" panose="020B0604030504040204" pitchFamily="50" charset="-128"/>
                <a:ea typeface="Meiryo UI" panose="020B0604030504040204" pitchFamily="50" charset="-128"/>
              </a:rPr>
              <a:t>在宅勤務、サテライトオフィスでの勤務</a:t>
            </a:r>
            <a:endParaRPr kumimoji="1" lang="en-US" altLang="ja-JP" sz="2000" b="1" dirty="0" smtClean="0">
              <a:solidFill>
                <a:srgbClr val="33328B"/>
              </a:solidFill>
              <a:latin typeface="Meiryo UI" panose="020B0604030504040204" pitchFamily="50" charset="-128"/>
              <a:ea typeface="Meiryo UI" panose="020B0604030504040204" pitchFamily="50" charset="-128"/>
            </a:endParaRPr>
          </a:p>
          <a:p>
            <a:pPr algn="ctr"/>
            <a:r>
              <a:rPr lang="ja-JP" altLang="en-US" sz="2500" b="1" dirty="0" smtClean="0">
                <a:solidFill>
                  <a:srgbClr val="33328B"/>
                </a:solidFill>
                <a:latin typeface="Meiryo UI" panose="020B0604030504040204" pitchFamily="50" charset="-128"/>
                <a:ea typeface="Meiryo UI" panose="020B0604030504040204" pitchFamily="50" charset="-128"/>
              </a:rPr>
              <a:t>～会社までの移動がなくなる</a:t>
            </a:r>
            <a:r>
              <a:rPr lang="ja-JP" altLang="en-US" sz="2500" b="1" dirty="0">
                <a:solidFill>
                  <a:srgbClr val="33328B"/>
                </a:solidFill>
                <a:latin typeface="Meiryo UI" panose="020B0604030504040204" pitchFamily="50" charset="-128"/>
                <a:ea typeface="Meiryo UI" panose="020B0604030504040204" pitchFamily="50" charset="-128"/>
              </a:rPr>
              <a:t>～</a:t>
            </a:r>
            <a:endParaRPr kumimoji="1" lang="ja-JP" altLang="en-US" sz="2500" b="1" dirty="0">
              <a:solidFill>
                <a:srgbClr val="33328B"/>
              </a:solidFill>
              <a:latin typeface="Meiryo UI" panose="020B0604030504040204" pitchFamily="50" charset="-128"/>
              <a:ea typeface="Meiryo UI" panose="020B0604030504040204" pitchFamily="50" charset="-128"/>
            </a:endParaRPr>
          </a:p>
        </p:txBody>
      </p:sp>
      <p:pic>
        <p:nvPicPr>
          <p:cNvPr id="26" name="図 2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flipH="1">
            <a:off x="9280283" y="4292881"/>
            <a:ext cx="1741587" cy="1579039"/>
          </a:xfrm>
          <a:prstGeom prst="rect">
            <a:avLst/>
          </a:prstGeom>
        </p:spPr>
      </p:pic>
      <p:pic>
        <p:nvPicPr>
          <p:cNvPr id="30" name="図 29"/>
          <p:cNvPicPr>
            <a:picLocks noChangeAspect="1"/>
          </p:cNvPicPr>
          <p:nvPr/>
        </p:nvPicPr>
        <p:blipFill>
          <a:blip r:embed="rId13" cstate="print">
            <a:extLst>
              <a:ext uri="{BEBA8EAE-BF5A-486C-A8C5-ECC9F3942E4B}">
                <a14:imgProps xmlns:a14="http://schemas.microsoft.com/office/drawing/2010/main">
                  <a14:imgLayer r:embed="rId14">
                    <a14:imgEffect>
                      <a14:backgroundRemoval t="0" b="99156" l="1055" r="96203">
                        <a14:foregroundMark x1="17511" y1="6329" x2="17511" y2="6329"/>
                        <a14:foregroundMark x1="17511" y1="7806" x2="17511" y2="7806"/>
                        <a14:foregroundMark x1="17511" y1="9705" x2="17511" y2="9705"/>
                        <a14:foregroundMark x1="17300" y1="11603" x2="17300" y2="11603"/>
                        <a14:foregroundMark x1="14768" y1="6118" x2="14768" y2="6118"/>
                        <a14:foregroundMark x1="17089" y1="15401" x2="17089" y2="15401"/>
                        <a14:foregroundMark x1="13713" y1="18565" x2="13713" y2="18565"/>
                        <a14:foregroundMark x1="15401" y1="25316" x2="15401" y2="25316"/>
                        <a14:foregroundMark x1="12869" y1="22152" x2="12869" y2="22152"/>
                        <a14:foregroundMark x1="21730" y1="17932" x2="21730" y2="17932"/>
                        <a14:foregroundMark x1="21097" y1="24262" x2="21097" y2="24262"/>
                        <a14:foregroundMark x1="48101" y1="7595" x2="48101" y2="7595"/>
                        <a14:foregroundMark x1="48101" y1="10970" x2="48101" y2="10970"/>
                        <a14:foregroundMark x1="50000" y1="9072" x2="50000" y2="9072"/>
                        <a14:foregroundMark x1="49789" y1="3376" x2="49789" y2="3376"/>
                        <a14:foregroundMark x1="22152" y1="21730" x2="22152" y2="21730"/>
                        <a14:foregroundMark x1="44515" y1="17511" x2="44515" y2="17511"/>
                        <a14:foregroundMark x1="52110" y1="17511" x2="52110" y2="17511"/>
                        <a14:foregroundMark x1="51899" y1="25316" x2="51899" y2="25316"/>
                        <a14:foregroundMark x1="44726" y1="22574" x2="44726" y2="22574"/>
                        <a14:foregroundMark x1="46203" y1="20253" x2="46203" y2="20253"/>
                        <a14:foregroundMark x1="45781" y1="17300" x2="45781" y2="17300"/>
                        <a14:foregroundMark x1="53376" y1="19409" x2="53376" y2="19409"/>
                        <a14:foregroundMark x1="51055" y1="15823" x2="51055" y2="15823"/>
                        <a14:foregroundMark x1="54641" y1="23418" x2="54641" y2="23418"/>
                        <a14:foregroundMark x1="81435" y1="7806" x2="81435" y2="7806"/>
                        <a14:foregroundMark x1="79747" y1="4852" x2="79747" y2="4852"/>
                        <a14:foregroundMark x1="79114" y1="10549" x2="79114" y2="10549"/>
                        <a14:foregroundMark x1="80591" y1="10338" x2="80591" y2="10338"/>
                        <a14:foregroundMark x1="79958" y1="7806" x2="79958" y2="7806"/>
                        <a14:foregroundMark x1="80591" y1="16034" x2="80591" y2="16034"/>
                        <a14:foregroundMark x1="76582" y1="18987" x2="76582" y2="18987"/>
                        <a14:foregroundMark x1="78270" y1="23840" x2="78270" y2="23840"/>
                        <a14:foregroundMark x1="84599" y1="18143" x2="84599" y2="18143"/>
                        <a14:foregroundMark x1="82911" y1="15823" x2="82911" y2="15823"/>
                        <a14:foregroundMark x1="77848" y1="16878" x2="77848" y2="16878"/>
                        <a14:foregroundMark x1="76582" y1="21308" x2="76582" y2="21308"/>
                        <a14:foregroundMark x1="83966" y1="17722" x2="83966" y2="17722"/>
                        <a14:foregroundMark x1="84599" y1="20886" x2="84599" y2="20886"/>
                      </a14:backgroundRemoval>
                    </a14:imgEffect>
                  </a14:imgLayer>
                </a14:imgProps>
              </a:ext>
              <a:ext uri="{28A0092B-C50C-407E-A947-70E740481C1C}">
                <a14:useLocalDpi xmlns:a14="http://schemas.microsoft.com/office/drawing/2010/main" val="0"/>
              </a:ext>
            </a:extLst>
          </a:blip>
          <a:stretch>
            <a:fillRect/>
          </a:stretch>
        </p:blipFill>
        <p:spPr>
          <a:xfrm>
            <a:off x="7439025" y="4247170"/>
            <a:ext cx="1596593" cy="1596593"/>
          </a:xfrm>
          <a:prstGeom prst="rect">
            <a:avLst/>
          </a:prstGeom>
        </p:spPr>
      </p:pic>
      <p:sp>
        <p:nvSpPr>
          <p:cNvPr id="40" name="乗算 30"/>
          <p:cNvSpPr/>
          <p:nvPr/>
        </p:nvSpPr>
        <p:spPr>
          <a:xfrm>
            <a:off x="6639431" y="4291378"/>
            <a:ext cx="3124464" cy="1697124"/>
          </a:xfrm>
          <a:prstGeom prst="mathMultiply">
            <a:avLst>
              <a:gd name="adj1" fmla="val 12402"/>
            </a:avLst>
          </a:prstGeom>
          <a:solidFill>
            <a:srgbClr val="FF0000">
              <a:alpha val="5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a:p>
        </p:txBody>
      </p:sp>
      <p:sp>
        <p:nvSpPr>
          <p:cNvPr id="19" name="加算 18"/>
          <p:cNvSpPr/>
          <p:nvPr/>
        </p:nvSpPr>
        <p:spPr>
          <a:xfrm>
            <a:off x="5142388" y="4363768"/>
            <a:ext cx="793291" cy="764562"/>
          </a:xfrm>
          <a:prstGeom prst="mathPlu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テキスト ボックス 16"/>
          <p:cNvSpPr txBox="1"/>
          <p:nvPr/>
        </p:nvSpPr>
        <p:spPr>
          <a:xfrm>
            <a:off x="4161379" y="5003706"/>
            <a:ext cx="2736261" cy="911473"/>
          </a:xfrm>
          <a:prstGeom prst="star32">
            <a:avLst/>
          </a:prstGeom>
          <a:solidFill>
            <a:srgbClr val="C00000"/>
          </a:solidFill>
          <a:effectLst>
            <a:outerShdw blurRad="50800" dist="38100" dir="2700000" algn="tl" rotWithShape="0">
              <a:prstClr val="black">
                <a:alpha val="40000"/>
              </a:prstClr>
            </a:outerShdw>
          </a:effectLst>
        </p:spPr>
        <p:txBody>
          <a:bodyPr wrap="square" lIns="0" tIns="0" rIns="0" bIns="0" rtlCol="0">
            <a:spAutoFit/>
          </a:bodyPr>
          <a:lstStyle/>
          <a:p>
            <a:pPr algn="ctr">
              <a:lnSpc>
                <a:spcPts val="1900"/>
              </a:lnSpc>
            </a:pPr>
            <a:r>
              <a:rPr kumimoji="1" lang="ja-JP" altLang="en-US" b="1" dirty="0" smtClean="0">
                <a:solidFill>
                  <a:schemeClr val="bg1"/>
                </a:solidFill>
                <a:latin typeface="Meiryo UI" panose="020B0604030504040204" pitchFamily="50" charset="-128"/>
                <a:ea typeface="Meiryo UI" panose="020B0604030504040204" pitchFamily="50" charset="-128"/>
              </a:rPr>
              <a:t>コロナウイルス</a:t>
            </a:r>
            <a:endParaRPr kumimoji="1" lang="en-US" altLang="ja-JP" b="1" dirty="0" smtClean="0">
              <a:solidFill>
                <a:schemeClr val="bg1"/>
              </a:solidFill>
              <a:latin typeface="Meiryo UI" panose="020B0604030504040204" pitchFamily="50" charset="-128"/>
              <a:ea typeface="Meiryo UI" panose="020B0604030504040204" pitchFamily="50" charset="-128"/>
            </a:endParaRPr>
          </a:p>
          <a:p>
            <a:pPr algn="ctr">
              <a:lnSpc>
                <a:spcPts val="1900"/>
              </a:lnSpc>
            </a:pPr>
            <a:r>
              <a:rPr lang="ja-JP" altLang="en-US" b="1" dirty="0" smtClean="0">
                <a:solidFill>
                  <a:schemeClr val="bg1"/>
                </a:solidFill>
                <a:latin typeface="Meiryo UI" panose="020B0604030504040204" pitchFamily="50" charset="-128"/>
                <a:ea typeface="Meiryo UI" panose="020B0604030504040204" pitchFamily="50" charset="-128"/>
              </a:rPr>
              <a:t>感染症</a:t>
            </a:r>
            <a:endParaRPr kumimoji="1" lang="ja-JP" altLang="en-US" b="1" dirty="0">
              <a:solidFill>
                <a:schemeClr val="bg1"/>
              </a:solidFill>
              <a:latin typeface="Meiryo UI" panose="020B0604030504040204" pitchFamily="50" charset="-128"/>
              <a:ea typeface="Meiryo UI" panose="020B0604030504040204" pitchFamily="50" charset="-128"/>
            </a:endParaRPr>
          </a:p>
        </p:txBody>
      </p:sp>
      <p:sp>
        <p:nvSpPr>
          <p:cNvPr id="31" name="右矢印 30"/>
          <p:cNvSpPr/>
          <p:nvPr/>
        </p:nvSpPr>
        <p:spPr>
          <a:xfrm>
            <a:off x="4792468" y="2051368"/>
            <a:ext cx="1143211" cy="669289"/>
          </a:xfrm>
          <a:prstGeom prst="rightArrow">
            <a:avLst/>
          </a:prstGeom>
          <a:gradFill>
            <a:gsLst>
              <a:gs pos="100000">
                <a:schemeClr val="bg1">
                  <a:lumMod val="50000"/>
                </a:schemeClr>
              </a:gs>
              <a:gs pos="3000">
                <a:schemeClr val="bg1">
                  <a:lumMod val="85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右矢印 34"/>
          <p:cNvSpPr/>
          <p:nvPr/>
        </p:nvSpPr>
        <p:spPr>
          <a:xfrm>
            <a:off x="7277912" y="2051368"/>
            <a:ext cx="1143211" cy="669289"/>
          </a:xfrm>
          <a:prstGeom prst="rightArrow">
            <a:avLst/>
          </a:prstGeom>
          <a:gradFill>
            <a:gsLst>
              <a:gs pos="100000">
                <a:schemeClr val="bg1">
                  <a:lumMod val="50000"/>
                </a:schemeClr>
              </a:gs>
              <a:gs pos="3000">
                <a:schemeClr val="bg1">
                  <a:lumMod val="85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38123705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グループ化 2"/>
          <p:cNvGrpSpPr/>
          <p:nvPr/>
        </p:nvGrpSpPr>
        <p:grpSpPr bwMode="gray">
          <a:xfrm>
            <a:off x="701040" y="1880227"/>
            <a:ext cx="10805160" cy="3342295"/>
            <a:chOff x="701040" y="1880227"/>
            <a:chExt cx="10805160" cy="3342295"/>
          </a:xfrm>
          <a:effectLst>
            <a:outerShdw blurRad="50800" dist="38100" dir="2700000" algn="tl" rotWithShape="0">
              <a:prstClr val="black">
                <a:alpha val="40000"/>
              </a:prstClr>
            </a:outerShdw>
          </a:effectLst>
        </p:grpSpPr>
        <p:sp>
          <p:nvSpPr>
            <p:cNvPr id="95" name="角丸四角形 94"/>
            <p:cNvSpPr/>
            <p:nvPr/>
          </p:nvSpPr>
          <p:spPr bwMode="gray">
            <a:xfrm>
              <a:off x="6242255" y="1880227"/>
              <a:ext cx="5263945" cy="3037442"/>
            </a:xfrm>
            <a:prstGeom prst="roundRect">
              <a:avLst>
                <a:gd name="adj" fmla="val 5484"/>
              </a:avLst>
            </a:prstGeom>
            <a:solidFill>
              <a:schemeClr val="accent1">
                <a:lumMod val="20000"/>
                <a:lumOff val="80000"/>
              </a:schemeClr>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noFill/>
                <a:latin typeface="Meiryo UI" panose="020B0604030504040204" pitchFamily="50" charset="-128"/>
                <a:ea typeface="Meiryo UI" panose="020B0604030504040204" pitchFamily="50" charset="-128"/>
              </a:endParaRPr>
            </a:p>
          </p:txBody>
        </p:sp>
        <p:sp>
          <p:nvSpPr>
            <p:cNvPr id="9" name="角丸四角形 8"/>
            <p:cNvSpPr/>
            <p:nvPr/>
          </p:nvSpPr>
          <p:spPr bwMode="gray">
            <a:xfrm>
              <a:off x="701040" y="1880227"/>
              <a:ext cx="5254716" cy="3037442"/>
            </a:xfrm>
            <a:prstGeom prst="roundRect">
              <a:avLst>
                <a:gd name="adj" fmla="val 5484"/>
              </a:avLst>
            </a:prstGeom>
            <a:solidFill>
              <a:schemeClr val="accent4">
                <a:lumMod val="20000"/>
                <a:lumOff val="80000"/>
              </a:schemeClr>
            </a:solidFill>
            <a:ln w="57150">
              <a:solidFill>
                <a:srgbClr val="F2B8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noFill/>
                <a:latin typeface="Meiryo UI" panose="020B0604030504040204" pitchFamily="50" charset="-128"/>
                <a:ea typeface="Meiryo UI" panose="020B0604030504040204" pitchFamily="50" charset="-128"/>
              </a:endParaRPr>
            </a:p>
          </p:txBody>
        </p:sp>
        <p:sp>
          <p:nvSpPr>
            <p:cNvPr id="106" name="右矢印 105"/>
            <p:cNvSpPr/>
            <p:nvPr/>
          </p:nvSpPr>
          <p:spPr bwMode="gray">
            <a:xfrm rot="5400000">
              <a:off x="5003176" y="4530957"/>
              <a:ext cx="304849" cy="1078276"/>
            </a:xfrm>
            <a:prstGeom prst="rightArrow">
              <a:avLst>
                <a:gd name="adj1" fmla="val 48314"/>
                <a:gd name="adj2" fmla="val 49999"/>
              </a:avLst>
            </a:prstGeom>
            <a:solidFill>
              <a:srgbClr val="F2B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3" name="右矢印 92"/>
            <p:cNvSpPr/>
            <p:nvPr/>
          </p:nvSpPr>
          <p:spPr bwMode="gray">
            <a:xfrm rot="5400000">
              <a:off x="6842485" y="4530959"/>
              <a:ext cx="304851" cy="1078276"/>
            </a:xfrm>
            <a:prstGeom prst="rightArrow">
              <a:avLst>
                <a:gd name="adj1" fmla="val 48314"/>
                <a:gd name="adj2" fmla="val 4999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0" name="グループ化 9"/>
          <p:cNvGrpSpPr/>
          <p:nvPr/>
        </p:nvGrpSpPr>
        <p:grpSpPr>
          <a:xfrm>
            <a:off x="3699286" y="5231228"/>
            <a:ext cx="4802949" cy="812302"/>
            <a:chOff x="3699286" y="5231228"/>
            <a:chExt cx="4802949" cy="812302"/>
          </a:xfrm>
          <a:effectLst>
            <a:outerShdw blurRad="50800" dist="38100" dir="2700000" algn="tl" rotWithShape="0">
              <a:prstClr val="black">
                <a:alpha val="40000"/>
              </a:prstClr>
            </a:outerShdw>
          </a:effectLst>
        </p:grpSpPr>
        <p:sp>
          <p:nvSpPr>
            <p:cNvPr id="94" name="右矢印 93"/>
            <p:cNvSpPr/>
            <p:nvPr/>
          </p:nvSpPr>
          <p:spPr>
            <a:xfrm rot="5400000">
              <a:off x="5877959" y="5281592"/>
              <a:ext cx="445601" cy="1078276"/>
            </a:xfrm>
            <a:prstGeom prst="rightArrow">
              <a:avLst>
                <a:gd name="adj1" fmla="val 48314"/>
                <a:gd name="adj2" fmla="val 49999"/>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角丸四角形 6"/>
            <p:cNvSpPr/>
            <p:nvPr/>
          </p:nvSpPr>
          <p:spPr>
            <a:xfrm>
              <a:off x="3699286" y="5231228"/>
              <a:ext cx="4802949" cy="464654"/>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b="1" dirty="0" smtClean="0">
                  <a:solidFill>
                    <a:schemeClr val="bg1"/>
                  </a:solidFill>
                  <a:latin typeface="Meiryo UI" panose="020B0604030504040204" pitchFamily="50" charset="-128"/>
                  <a:ea typeface="Meiryo UI" panose="020B0604030504040204" pitchFamily="50" charset="-128"/>
                </a:rPr>
                <a:t>「ストレスフリー」＋「楽しみ」</a:t>
              </a:r>
              <a:endParaRPr kumimoji="1" lang="ja-JP" altLang="en-US" sz="2000" b="1" dirty="0">
                <a:solidFill>
                  <a:schemeClr val="bg1"/>
                </a:solidFill>
                <a:latin typeface="Meiryo UI" panose="020B0604030504040204" pitchFamily="50" charset="-128"/>
                <a:ea typeface="Meiryo UI" panose="020B0604030504040204" pitchFamily="50" charset="-128"/>
              </a:endParaRPr>
            </a:p>
          </p:txBody>
        </p:sp>
      </p:grpSp>
      <p:sp>
        <p:nvSpPr>
          <p:cNvPr id="5" name="角丸四角形 4"/>
          <p:cNvSpPr/>
          <p:nvPr/>
        </p:nvSpPr>
        <p:spPr>
          <a:xfrm>
            <a:off x="2102271" y="1547068"/>
            <a:ext cx="2452254" cy="512619"/>
          </a:xfrm>
          <a:prstGeom prst="roundRect">
            <a:avLst/>
          </a:prstGeom>
          <a:solidFill>
            <a:srgbClr val="F2B8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800" b="1" dirty="0" smtClean="0">
                <a:latin typeface="Meiryo UI" panose="020B0604030504040204" pitchFamily="50" charset="-128"/>
                <a:ea typeface="Meiryo UI" panose="020B0604030504040204" pitchFamily="50" charset="-128"/>
              </a:rPr>
              <a:t>ストレスフリー</a:t>
            </a:r>
            <a:endParaRPr kumimoji="1" lang="ja-JP" altLang="en-US" sz="2800" b="1" dirty="0">
              <a:latin typeface="Meiryo UI" panose="020B0604030504040204" pitchFamily="50" charset="-128"/>
              <a:ea typeface="Meiryo UI" panose="020B0604030504040204" pitchFamily="50" charset="-128"/>
            </a:endParaRPr>
          </a:p>
        </p:txBody>
      </p:sp>
      <p:sp>
        <p:nvSpPr>
          <p:cNvPr id="6" name="角丸四角形 5"/>
          <p:cNvSpPr/>
          <p:nvPr/>
        </p:nvSpPr>
        <p:spPr>
          <a:xfrm>
            <a:off x="7648100" y="1533214"/>
            <a:ext cx="2452254" cy="526473"/>
          </a:xfrm>
          <a:prstGeom prst="round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800" b="1" dirty="0" smtClean="0">
                <a:latin typeface="Meiryo UI" panose="020B0604030504040204" pitchFamily="50" charset="-128"/>
                <a:ea typeface="Meiryo UI" panose="020B0604030504040204" pitchFamily="50" charset="-128"/>
              </a:rPr>
              <a:t>楽しみ</a:t>
            </a:r>
            <a:endParaRPr kumimoji="1" lang="ja-JP" altLang="en-US" sz="2800" b="1" dirty="0">
              <a:latin typeface="Meiryo UI" panose="020B0604030504040204" pitchFamily="50" charset="-128"/>
              <a:ea typeface="Meiryo UI" panose="020B0604030504040204" pitchFamily="50" charset="-128"/>
            </a:endParaRPr>
          </a:p>
        </p:txBody>
      </p:sp>
      <p:pic>
        <p:nvPicPr>
          <p:cNvPr id="16386" name="Picture 2" descr="174052d7cf947403996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78822" y="2583203"/>
            <a:ext cx="1614535" cy="1614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図 1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250061" y="2176891"/>
            <a:ext cx="2052731" cy="1194641"/>
          </a:xfrm>
          <a:prstGeom prst="rect">
            <a:avLst/>
          </a:prstGeom>
        </p:spPr>
      </p:pic>
      <p:pic>
        <p:nvPicPr>
          <p:cNvPr id="21" name="図 2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250061" y="3440240"/>
            <a:ext cx="2052731" cy="1135040"/>
          </a:xfrm>
          <a:prstGeom prst="rect">
            <a:avLst/>
          </a:prstGeom>
        </p:spPr>
      </p:pic>
      <p:sp>
        <p:nvSpPr>
          <p:cNvPr id="22" name="正方形/長方形 21"/>
          <p:cNvSpPr/>
          <p:nvPr/>
        </p:nvSpPr>
        <p:spPr>
          <a:xfrm>
            <a:off x="968397" y="4255381"/>
            <a:ext cx="1635384" cy="307777"/>
          </a:xfrm>
          <a:prstGeom prst="rect">
            <a:avLst/>
          </a:prstGeom>
        </p:spPr>
        <p:txBody>
          <a:bodyPr wrap="none">
            <a:spAutoFit/>
          </a:bodyPr>
          <a:lstStyle/>
          <a:p>
            <a:r>
              <a:rPr lang="ja-JP" altLang="en-US" sz="1400" dirty="0">
                <a:latin typeface="Meiryo UI" panose="020B0604030504040204" pitchFamily="50" charset="-128"/>
                <a:ea typeface="Meiryo UI" panose="020B0604030504040204" pitchFamily="50" charset="-128"/>
              </a:rPr>
              <a:t>バリアフリー化の推進</a:t>
            </a:r>
          </a:p>
        </p:txBody>
      </p:sp>
      <p:sp>
        <p:nvSpPr>
          <p:cNvPr id="24" name="正方形/長方形 23"/>
          <p:cNvSpPr/>
          <p:nvPr/>
        </p:nvSpPr>
        <p:spPr>
          <a:xfrm>
            <a:off x="4278765" y="4259102"/>
            <a:ext cx="1552028" cy="307777"/>
          </a:xfrm>
          <a:prstGeom prst="rect">
            <a:avLst/>
          </a:prstGeom>
        </p:spPr>
        <p:txBody>
          <a:bodyPr wrap="none">
            <a:spAutoFit/>
          </a:bodyPr>
          <a:lstStyle/>
          <a:p>
            <a:r>
              <a:rPr lang="en-US" altLang="ja-JP" sz="1400" dirty="0" smtClean="0">
                <a:latin typeface="Meiryo UI" panose="020B0604030504040204" pitchFamily="50" charset="-128"/>
                <a:ea typeface="Meiryo UI" panose="020B0604030504040204" pitchFamily="50" charset="-128"/>
              </a:rPr>
              <a:t>ICT</a:t>
            </a:r>
            <a:r>
              <a:rPr lang="ja-JP" altLang="en-US" sz="1400" dirty="0" smtClean="0">
                <a:latin typeface="Meiryo UI" panose="020B0604030504040204" pitchFamily="50" charset="-128"/>
                <a:ea typeface="Meiryo UI" panose="020B0604030504040204" pitchFamily="50" charset="-128"/>
              </a:rPr>
              <a:t>サービスの普及</a:t>
            </a:r>
            <a:endParaRPr lang="ja-JP" altLang="en-US" sz="1400" dirty="0">
              <a:latin typeface="Meiryo UI" panose="020B0604030504040204" pitchFamily="50" charset="-128"/>
              <a:ea typeface="Meiryo UI" panose="020B0604030504040204" pitchFamily="50" charset="-128"/>
            </a:endParaRPr>
          </a:p>
        </p:txBody>
      </p:sp>
      <p:sp>
        <p:nvSpPr>
          <p:cNvPr id="25" name="正方形/長方形 24"/>
          <p:cNvSpPr/>
          <p:nvPr/>
        </p:nvSpPr>
        <p:spPr>
          <a:xfrm>
            <a:off x="9204658" y="4575223"/>
            <a:ext cx="2177199" cy="307777"/>
          </a:xfrm>
          <a:prstGeom prst="rect">
            <a:avLst/>
          </a:prstGeom>
        </p:spPr>
        <p:txBody>
          <a:bodyPr wrap="none">
            <a:spAutoFit/>
          </a:bodyPr>
          <a:lstStyle/>
          <a:p>
            <a:r>
              <a:rPr lang="ja-JP" altLang="en-US" sz="1400" dirty="0">
                <a:latin typeface="Meiryo UI" panose="020B0604030504040204" pitchFamily="50" charset="-128"/>
                <a:ea typeface="Meiryo UI" panose="020B0604030504040204" pitchFamily="50" charset="-128"/>
              </a:rPr>
              <a:t>移動</a:t>
            </a:r>
            <a:r>
              <a:rPr lang="ja-JP" altLang="en-US" sz="1400" dirty="0" smtClean="0">
                <a:latin typeface="Meiryo UI" panose="020B0604030504040204" pitchFamily="50" charset="-128"/>
                <a:ea typeface="Meiryo UI" panose="020B0604030504040204" pitchFamily="50" charset="-128"/>
              </a:rPr>
              <a:t>を楽しむ仕掛けの追求</a:t>
            </a:r>
            <a:endParaRPr lang="ja-JP" altLang="en-US" sz="1400" dirty="0">
              <a:latin typeface="Meiryo UI" panose="020B0604030504040204" pitchFamily="50" charset="-128"/>
              <a:ea typeface="Meiryo UI" panose="020B0604030504040204" pitchFamily="50" charset="-128"/>
            </a:endParaRPr>
          </a:p>
        </p:txBody>
      </p:sp>
      <p:sp>
        <p:nvSpPr>
          <p:cNvPr id="26" name="正方形/長方形 25"/>
          <p:cNvSpPr/>
          <p:nvPr/>
        </p:nvSpPr>
        <p:spPr>
          <a:xfrm>
            <a:off x="7182893" y="4566428"/>
            <a:ext cx="1144865" cy="307777"/>
          </a:xfrm>
          <a:prstGeom prst="rect">
            <a:avLst/>
          </a:prstGeom>
        </p:spPr>
        <p:txBody>
          <a:bodyPr wrap="none">
            <a:spAutoFit/>
          </a:bodyPr>
          <a:lstStyle/>
          <a:p>
            <a:r>
              <a:rPr lang="ja-JP" altLang="en-US" sz="1400" dirty="0" smtClean="0">
                <a:latin typeface="Meiryo UI" panose="020B0604030504040204" pitchFamily="50" charset="-128"/>
                <a:ea typeface="Meiryo UI" panose="020B0604030504040204" pitchFamily="50" charset="-128"/>
              </a:rPr>
              <a:t>デジタルツイン</a:t>
            </a:r>
            <a:endParaRPr lang="ja-JP" altLang="en-US" sz="1400" dirty="0">
              <a:latin typeface="Meiryo UI" panose="020B0604030504040204" pitchFamily="50" charset="-128"/>
              <a:ea typeface="Meiryo UI" panose="020B0604030504040204" pitchFamily="50" charset="-128"/>
            </a:endParaRPr>
          </a:p>
        </p:txBody>
      </p:sp>
      <p:sp>
        <p:nvSpPr>
          <p:cNvPr id="27" name="正方形/長方形 26"/>
          <p:cNvSpPr/>
          <p:nvPr/>
        </p:nvSpPr>
        <p:spPr>
          <a:xfrm>
            <a:off x="2899359" y="4259102"/>
            <a:ext cx="1160895" cy="307777"/>
          </a:xfrm>
          <a:prstGeom prst="rect">
            <a:avLst/>
          </a:prstGeom>
        </p:spPr>
        <p:txBody>
          <a:bodyPr wrap="none">
            <a:spAutoFit/>
          </a:bodyPr>
          <a:lstStyle/>
          <a:p>
            <a:r>
              <a:rPr lang="en-US" altLang="ja-JP" sz="1400" dirty="0" smtClean="0">
                <a:latin typeface="Meiryo UI" panose="020B0604030504040204" pitchFamily="50" charset="-128"/>
                <a:ea typeface="Meiryo UI" panose="020B0604030504040204" pitchFamily="50" charset="-128"/>
              </a:rPr>
              <a:t>MaaS</a:t>
            </a:r>
            <a:r>
              <a:rPr lang="ja-JP" altLang="en-US" sz="1400" dirty="0" smtClean="0">
                <a:latin typeface="Meiryo UI" panose="020B0604030504040204" pitchFamily="50" charset="-128"/>
                <a:ea typeface="Meiryo UI" panose="020B0604030504040204" pitchFamily="50" charset="-128"/>
              </a:rPr>
              <a:t>の推進</a:t>
            </a:r>
            <a:endParaRPr lang="ja-JP" altLang="en-US" sz="1400" dirty="0">
              <a:latin typeface="Meiryo UI" panose="020B0604030504040204" pitchFamily="50" charset="-128"/>
              <a:ea typeface="Meiryo UI" panose="020B0604030504040204" pitchFamily="50" charset="-128"/>
            </a:endParaRPr>
          </a:p>
        </p:txBody>
      </p:sp>
      <p:grpSp>
        <p:nvGrpSpPr>
          <p:cNvPr id="29" name="Group 252"/>
          <p:cNvGrpSpPr/>
          <p:nvPr/>
        </p:nvGrpSpPr>
        <p:grpSpPr>
          <a:xfrm>
            <a:off x="2963334" y="2564153"/>
            <a:ext cx="1032945" cy="1569364"/>
            <a:chOff x="8627469" y="2373333"/>
            <a:chExt cx="891649" cy="1564987"/>
          </a:xfrm>
        </p:grpSpPr>
        <p:pic>
          <p:nvPicPr>
            <p:cNvPr id="30" name="Picture 253"/>
            <p:cNvPicPr>
              <a:picLocks noChangeAspect="1"/>
            </p:cNvPicPr>
            <p:nvPr/>
          </p:nvPicPr>
          <p:blipFill rotWithShape="1">
            <a:blip r:embed="rId6" cstate="print">
              <a:extLst>
                <a:ext uri="{28A0092B-C50C-407E-A947-70E740481C1C}">
                  <a14:useLocalDpi xmlns:a14="http://schemas.microsoft.com/office/drawing/2010/main" val="0"/>
                </a:ext>
              </a:extLst>
            </a:blip>
            <a:srcRect b="10373"/>
            <a:stretch/>
          </p:blipFill>
          <p:spPr>
            <a:xfrm>
              <a:off x="8627469" y="2373333"/>
              <a:ext cx="891649" cy="1561275"/>
            </a:xfrm>
            <a:prstGeom prst="rect">
              <a:avLst/>
            </a:prstGeom>
          </p:spPr>
        </p:pic>
        <p:sp>
          <p:nvSpPr>
            <p:cNvPr id="33" name="Rectangle 254"/>
            <p:cNvSpPr/>
            <p:nvPr/>
          </p:nvSpPr>
          <p:spPr bwMode="auto">
            <a:xfrm>
              <a:off x="8707906" y="2515479"/>
              <a:ext cx="723769" cy="65797"/>
            </a:xfrm>
            <a:prstGeom prst="rect">
              <a:avLst/>
            </a:prstGeom>
            <a:noFill/>
            <a:ln w="9525" algn="ctr">
              <a:noFill/>
              <a:miter lim="800000"/>
              <a:headEnd/>
              <a:tailEnd/>
            </a:ln>
            <a:extLst>
              <a:ext uri="{909E8E84-426E-40DD-AFC4-6F175D3DCCD1}">
                <a14:hiddenFill xmlns:a14="http://schemas.microsoft.com/office/drawing/2010/main">
                  <a:solidFill>
                    <a:srgbClr val="6E6F73"/>
                  </a:solidFill>
                </a14:hiddenFill>
              </a:ext>
              <a:ext uri="{91240B29-F687-4F45-9708-019B960494DF}">
                <a14:hiddenLine xmlns:a14="http://schemas.microsoft.com/office/drawing/2010/main" w="9525" algn="ctr">
                  <a:solidFill>
                    <a:srgbClr val="E2E2E2"/>
                  </a:solidFill>
                  <a:miter lim="800000"/>
                  <a:headEnd/>
                  <a:tailEnd/>
                </a14:hiddenLine>
              </a:ext>
            </a:extLst>
          </p:spPr>
          <p:txBody>
            <a:bodyPr wrap="none" lIns="36000" tIns="10800" rIns="36000" bIns="10800" rtlCol="0" anchor="ctr"/>
            <a:lstStyle/>
            <a:p>
              <a:pPr marL="185738" indent="-185738">
                <a:buClr>
                  <a:srgbClr val="969696"/>
                </a:buClr>
                <a:buSzPct val="80000"/>
                <a:defRPr/>
              </a:pPr>
              <a:r>
                <a:rPr kumimoji="0" lang="en-US" sz="500" dirty="0">
                  <a:solidFill>
                    <a:prstClr val="black"/>
                  </a:solidFill>
                  <a:latin typeface="Trebuchet MS"/>
                  <a:ea typeface="Meiryo UI"/>
                </a:rPr>
                <a:t>9/15 15:00</a:t>
              </a:r>
              <a:r>
                <a:rPr kumimoji="0" lang="ja-JP" altLang="en-US" sz="500" dirty="0">
                  <a:solidFill>
                    <a:prstClr val="black"/>
                  </a:solidFill>
                  <a:latin typeface="Trebuchet MS"/>
                  <a:ea typeface="Meiryo UI"/>
                </a:rPr>
                <a:t>出発</a:t>
              </a:r>
              <a:endParaRPr kumimoji="0" lang="en-US" sz="500" dirty="0">
                <a:solidFill>
                  <a:prstClr val="black"/>
                </a:solidFill>
                <a:latin typeface="Trebuchet MS"/>
                <a:ea typeface="Meiryo UI"/>
              </a:endParaRPr>
            </a:p>
          </p:txBody>
        </p:sp>
        <p:sp>
          <p:nvSpPr>
            <p:cNvPr id="34" name="Rectangle 255"/>
            <p:cNvSpPr/>
            <p:nvPr/>
          </p:nvSpPr>
          <p:spPr bwMode="auto">
            <a:xfrm>
              <a:off x="8715470" y="2610288"/>
              <a:ext cx="222044" cy="180514"/>
            </a:xfrm>
            <a:prstGeom prst="rect">
              <a:avLst/>
            </a:prstGeom>
            <a:solidFill>
              <a:schemeClr val="accent4">
                <a:lumMod val="20000"/>
                <a:lumOff val="80000"/>
              </a:schemeClr>
            </a:solidFill>
            <a:ln w="9525" algn="ctr">
              <a:noFill/>
              <a:miter lim="800000"/>
              <a:headEnd/>
              <a:tailEnd/>
            </a:ln>
          </p:spPr>
          <p:txBody>
            <a:bodyPr wrap="none" lIns="36000" tIns="10800" rIns="36000" bIns="10800" rtlCol="0" anchor="ctr"/>
            <a:lstStyle/>
            <a:p>
              <a:pPr algn="ctr">
                <a:buClr>
                  <a:srgbClr val="969696"/>
                </a:buClr>
                <a:buSzPct val="80000"/>
                <a:defRPr/>
              </a:pPr>
              <a:r>
                <a:rPr kumimoji="0" lang="ja-JP" altLang="en-US" sz="500" dirty="0">
                  <a:solidFill>
                    <a:prstClr val="black"/>
                  </a:solidFill>
                  <a:latin typeface="Trebuchet MS"/>
                  <a:ea typeface="Meiryo UI"/>
                </a:rPr>
                <a:t>到着が</a:t>
              </a:r>
              <a:r>
                <a:rPr kumimoji="0" lang="en-US" altLang="ja-JP" sz="500" dirty="0">
                  <a:solidFill>
                    <a:prstClr val="black"/>
                  </a:solidFill>
                  <a:latin typeface="Trebuchet MS"/>
                  <a:ea typeface="Meiryo UI"/>
                </a:rPr>
                <a:t/>
              </a:r>
              <a:br>
                <a:rPr kumimoji="0" lang="en-US" altLang="ja-JP" sz="500" dirty="0">
                  <a:solidFill>
                    <a:prstClr val="black"/>
                  </a:solidFill>
                  <a:latin typeface="Trebuchet MS"/>
                  <a:ea typeface="Meiryo UI"/>
                </a:rPr>
              </a:br>
              <a:r>
                <a:rPr kumimoji="0" lang="ja-JP" altLang="en-US" sz="500" dirty="0">
                  <a:solidFill>
                    <a:prstClr val="black"/>
                  </a:solidFill>
                  <a:latin typeface="Trebuchet MS"/>
                  <a:ea typeface="Meiryo UI"/>
                </a:rPr>
                <a:t>早い</a:t>
              </a:r>
              <a:endParaRPr kumimoji="0" lang="en-US" sz="500" dirty="0">
                <a:solidFill>
                  <a:prstClr val="black"/>
                </a:solidFill>
                <a:latin typeface="Trebuchet MS"/>
                <a:ea typeface="Meiryo UI"/>
              </a:endParaRPr>
            </a:p>
          </p:txBody>
        </p:sp>
        <p:sp>
          <p:nvSpPr>
            <p:cNvPr id="35" name="Rectangle 256"/>
            <p:cNvSpPr/>
            <p:nvPr/>
          </p:nvSpPr>
          <p:spPr bwMode="auto">
            <a:xfrm>
              <a:off x="8962271" y="2610288"/>
              <a:ext cx="222044" cy="180514"/>
            </a:xfrm>
            <a:prstGeom prst="rect">
              <a:avLst/>
            </a:prstGeom>
            <a:solidFill>
              <a:srgbClr val="C8C8C8"/>
            </a:solidFill>
            <a:ln w="9525" algn="ctr">
              <a:noFill/>
              <a:miter lim="800000"/>
              <a:headEnd/>
              <a:tailEnd/>
            </a:ln>
            <a:extLst>
              <a:ext uri="{91240B29-F687-4F45-9708-019B960494DF}">
                <a14:hiddenLine xmlns:a14="http://schemas.microsoft.com/office/drawing/2010/main" w="9525" algn="ctr">
                  <a:solidFill>
                    <a:srgbClr val="E2E2E2"/>
                  </a:solidFill>
                  <a:miter lim="800000"/>
                  <a:headEnd/>
                  <a:tailEnd/>
                </a14:hiddenLine>
              </a:ext>
            </a:extLst>
          </p:spPr>
          <p:txBody>
            <a:bodyPr wrap="none" lIns="36000" tIns="10800" rIns="36000" bIns="10800" rtlCol="0" anchor="ctr"/>
            <a:lstStyle/>
            <a:p>
              <a:pPr indent="-185738" algn="ctr">
                <a:buClr>
                  <a:srgbClr val="969696"/>
                </a:buClr>
                <a:buSzPct val="80000"/>
                <a:defRPr/>
              </a:pPr>
              <a:r>
                <a:rPr kumimoji="0" lang="ja-JP" altLang="en-US" sz="500" dirty="0">
                  <a:solidFill>
                    <a:srgbClr val="7F7F7F"/>
                  </a:solidFill>
                  <a:latin typeface="Trebuchet MS"/>
                  <a:ea typeface="Meiryo UI"/>
                </a:rPr>
                <a:t>料金が</a:t>
              </a:r>
              <a:r>
                <a:rPr kumimoji="0" lang="en-US" altLang="ja-JP" sz="500" dirty="0">
                  <a:solidFill>
                    <a:srgbClr val="7F7F7F"/>
                  </a:solidFill>
                  <a:latin typeface="Trebuchet MS"/>
                  <a:ea typeface="Meiryo UI"/>
                </a:rPr>
                <a:t/>
              </a:r>
              <a:br>
                <a:rPr kumimoji="0" lang="en-US" altLang="ja-JP" sz="500" dirty="0">
                  <a:solidFill>
                    <a:srgbClr val="7F7F7F"/>
                  </a:solidFill>
                  <a:latin typeface="Trebuchet MS"/>
                  <a:ea typeface="Meiryo UI"/>
                </a:rPr>
              </a:br>
              <a:r>
                <a:rPr kumimoji="0" lang="ja-JP" altLang="en-US" sz="500" dirty="0">
                  <a:solidFill>
                    <a:srgbClr val="7F7F7F"/>
                  </a:solidFill>
                  <a:latin typeface="Trebuchet MS"/>
                  <a:ea typeface="Meiryo UI"/>
                </a:rPr>
                <a:t>安い</a:t>
              </a:r>
              <a:endParaRPr kumimoji="0" lang="en-US" sz="500" dirty="0">
                <a:solidFill>
                  <a:srgbClr val="7F7F7F"/>
                </a:solidFill>
                <a:latin typeface="Trebuchet MS"/>
                <a:ea typeface="Meiryo UI"/>
              </a:endParaRPr>
            </a:p>
          </p:txBody>
        </p:sp>
        <p:sp>
          <p:nvSpPr>
            <p:cNvPr id="36" name="Rectangle 257"/>
            <p:cNvSpPr/>
            <p:nvPr/>
          </p:nvSpPr>
          <p:spPr bwMode="auto">
            <a:xfrm>
              <a:off x="9209073" y="2610288"/>
              <a:ext cx="222044" cy="180514"/>
            </a:xfrm>
            <a:prstGeom prst="rect">
              <a:avLst/>
            </a:prstGeom>
            <a:solidFill>
              <a:srgbClr val="C8C8C8"/>
            </a:solidFill>
            <a:ln w="9525" algn="ctr">
              <a:noFill/>
              <a:miter lim="800000"/>
              <a:headEnd/>
              <a:tailEnd/>
            </a:ln>
            <a:extLst>
              <a:ext uri="{91240B29-F687-4F45-9708-019B960494DF}">
                <a14:hiddenLine xmlns:a14="http://schemas.microsoft.com/office/drawing/2010/main" w="9525" algn="ctr">
                  <a:solidFill>
                    <a:srgbClr val="E2E2E2"/>
                  </a:solidFill>
                  <a:miter lim="800000"/>
                  <a:headEnd/>
                  <a:tailEnd/>
                </a14:hiddenLine>
              </a:ext>
            </a:extLst>
          </p:spPr>
          <p:txBody>
            <a:bodyPr wrap="none" lIns="36000" tIns="10800" rIns="36000" bIns="10800" rtlCol="0" anchor="ctr"/>
            <a:lstStyle/>
            <a:p>
              <a:pPr indent="-185738" algn="ctr">
                <a:buClr>
                  <a:srgbClr val="969696"/>
                </a:buClr>
                <a:buSzPct val="80000"/>
                <a:defRPr/>
              </a:pPr>
              <a:r>
                <a:rPr kumimoji="0" lang="ja-JP" altLang="en-US" sz="500" dirty="0">
                  <a:solidFill>
                    <a:srgbClr val="7F7F7F"/>
                  </a:solidFill>
                  <a:latin typeface="Trebuchet MS"/>
                  <a:ea typeface="Meiryo UI"/>
                </a:rPr>
                <a:t>乗換が</a:t>
              </a:r>
              <a:r>
                <a:rPr kumimoji="0" lang="en-US" altLang="ja-JP" sz="500" dirty="0">
                  <a:solidFill>
                    <a:srgbClr val="7F7F7F"/>
                  </a:solidFill>
                  <a:latin typeface="Trebuchet MS"/>
                  <a:ea typeface="Meiryo UI"/>
                </a:rPr>
                <a:t/>
              </a:r>
              <a:br>
                <a:rPr kumimoji="0" lang="en-US" altLang="ja-JP" sz="500" dirty="0">
                  <a:solidFill>
                    <a:srgbClr val="7F7F7F"/>
                  </a:solidFill>
                  <a:latin typeface="Trebuchet MS"/>
                  <a:ea typeface="Meiryo UI"/>
                </a:rPr>
              </a:br>
              <a:r>
                <a:rPr kumimoji="0" lang="ja-JP" altLang="en-US" sz="500" dirty="0">
                  <a:solidFill>
                    <a:srgbClr val="7F7F7F"/>
                  </a:solidFill>
                  <a:latin typeface="Trebuchet MS"/>
                  <a:ea typeface="Meiryo UI"/>
                </a:rPr>
                <a:t>少ない</a:t>
              </a:r>
              <a:endParaRPr kumimoji="0" lang="en-US" sz="500" dirty="0">
                <a:solidFill>
                  <a:srgbClr val="7F7F7F"/>
                </a:solidFill>
                <a:latin typeface="Trebuchet MS"/>
                <a:ea typeface="Meiryo UI"/>
              </a:endParaRPr>
            </a:p>
          </p:txBody>
        </p:sp>
        <p:sp>
          <p:nvSpPr>
            <p:cNvPr id="37" name="Rectangle 258"/>
            <p:cNvSpPr/>
            <p:nvPr/>
          </p:nvSpPr>
          <p:spPr bwMode="auto">
            <a:xfrm>
              <a:off x="8715470" y="2790802"/>
              <a:ext cx="715646" cy="1143806"/>
            </a:xfrm>
            <a:prstGeom prst="rect">
              <a:avLst/>
            </a:prstGeom>
            <a:solidFill>
              <a:schemeClr val="accent4">
                <a:lumMod val="20000"/>
                <a:lumOff val="80000"/>
              </a:schemeClr>
            </a:solidFill>
            <a:ln w="9525" algn="ctr">
              <a:noFill/>
              <a:miter lim="800000"/>
              <a:headEnd/>
              <a:tailEnd/>
            </a:ln>
          </p:spPr>
          <p:txBody>
            <a:bodyPr wrap="none" lIns="36000" tIns="10800" rIns="36000" bIns="10800" rtlCol="0" anchor="ctr"/>
            <a:lstStyle/>
            <a:p>
              <a:pPr algn="ctr">
                <a:buClr>
                  <a:srgbClr val="969696"/>
                </a:buClr>
                <a:buSzPct val="80000"/>
                <a:defRPr/>
              </a:pPr>
              <a:endParaRPr kumimoji="0" lang="en-US" sz="500" dirty="0">
                <a:solidFill>
                  <a:prstClr val="black"/>
                </a:solidFill>
                <a:latin typeface="Trebuchet MS"/>
                <a:ea typeface="Meiryo UI"/>
              </a:endParaRPr>
            </a:p>
          </p:txBody>
        </p:sp>
        <p:sp>
          <p:nvSpPr>
            <p:cNvPr id="38" name="Rectangle 259"/>
            <p:cNvSpPr/>
            <p:nvPr/>
          </p:nvSpPr>
          <p:spPr bwMode="auto">
            <a:xfrm>
              <a:off x="8736764" y="3568066"/>
              <a:ext cx="673063" cy="370254"/>
            </a:xfrm>
            <a:prstGeom prst="rect">
              <a:avLst/>
            </a:prstGeom>
            <a:solidFill>
              <a:srgbClr val="FFFFFF"/>
            </a:solidFill>
            <a:ln w="9525" cap="flat" cmpd="sng" algn="ctr">
              <a:noFill/>
              <a:prstDash val="solid"/>
              <a:miter lim="800000"/>
              <a:headEnd type="none" w="med" len="med"/>
              <a:tailEnd type="none" w="med" len="med"/>
            </a:ln>
            <a:extLst>
              <a:ext uri="{91240B29-F687-4F45-9708-019B960494DF}">
                <a14:hiddenLine xmlns:a14="http://schemas.microsoft.com/office/drawing/2010/main" w="9525" cap="flat" cmpd="sng" algn="ctr">
                  <a:solidFill>
                    <a:srgbClr val="9A9A9A"/>
                  </a:solidFill>
                  <a:prstDash val="solid"/>
                  <a:miter lim="800000"/>
                  <a:headEnd type="none" w="med" len="med"/>
                  <a:tailEnd type="none" w="med" len="med"/>
                </a14:hiddenLine>
              </a:ext>
            </a:extLst>
          </p:spPr>
          <p:txBody>
            <a:bodyPr wrap="none" lIns="36000" tIns="10800" rIns="36000" bIns="10800" rtlCol="0" anchor="ctr"/>
            <a:lstStyle/>
            <a:p>
              <a:pPr marL="185738" indent="-185738" algn="ctr">
                <a:buClr>
                  <a:srgbClr val="969696"/>
                </a:buClr>
                <a:buSzPct val="80000"/>
                <a:defRPr/>
              </a:pPr>
              <a:endParaRPr kumimoji="0" lang="en-US" sz="1400" dirty="0">
                <a:solidFill>
                  <a:prstClr val="black"/>
                </a:solidFill>
                <a:latin typeface="Meiryo UI"/>
                <a:ea typeface="Meiryo UI"/>
              </a:endParaRPr>
            </a:p>
          </p:txBody>
        </p:sp>
        <p:sp>
          <p:nvSpPr>
            <p:cNvPr id="39" name="Rounded Rectangle 260"/>
            <p:cNvSpPr/>
            <p:nvPr/>
          </p:nvSpPr>
          <p:spPr bwMode="auto">
            <a:xfrm>
              <a:off x="8852720" y="3598164"/>
              <a:ext cx="525104" cy="71115"/>
            </a:xfrm>
            <a:prstGeom prst="roundRect">
              <a:avLst/>
            </a:prstGeom>
            <a:solidFill>
              <a:srgbClr val="30C1D7"/>
            </a:solidFill>
            <a:ln w="9525" algn="ctr">
              <a:noFill/>
              <a:miter lim="800000"/>
              <a:headEnd/>
              <a:tailEnd/>
            </a:ln>
          </p:spPr>
          <p:txBody>
            <a:bodyPr wrap="square" lIns="36000" tIns="10800" rIns="36000" bIns="10800" rtlCol="0" anchor="ctr"/>
            <a:lstStyle/>
            <a:p>
              <a:pPr marL="28575">
                <a:buClr>
                  <a:srgbClr val="969696"/>
                </a:buClr>
                <a:buSzPct val="80000"/>
                <a:defRPr/>
              </a:pPr>
              <a:r>
                <a:rPr kumimoji="0" lang="ja-JP" altLang="en-US" sz="500" dirty="0">
                  <a:solidFill>
                    <a:srgbClr val="FFFFFF"/>
                  </a:solidFill>
                  <a:latin typeface="Meiryo UI"/>
                  <a:ea typeface="Meiryo UI"/>
                </a:rPr>
                <a:t>シェアサイクル</a:t>
              </a:r>
              <a:endParaRPr kumimoji="0" lang="en-US" sz="500" dirty="0">
                <a:solidFill>
                  <a:srgbClr val="FFFFFF"/>
                </a:solidFill>
                <a:latin typeface="Meiryo UI"/>
                <a:ea typeface="Meiryo UI"/>
              </a:endParaRPr>
            </a:p>
          </p:txBody>
        </p:sp>
        <p:grpSp>
          <p:nvGrpSpPr>
            <p:cNvPr id="40" name="Group 261"/>
            <p:cNvGrpSpPr/>
            <p:nvPr/>
          </p:nvGrpSpPr>
          <p:grpSpPr>
            <a:xfrm>
              <a:off x="8768768" y="3585815"/>
              <a:ext cx="128155" cy="128168"/>
              <a:chOff x="3492500" y="1587525"/>
              <a:chExt cx="728134" cy="728135"/>
            </a:xfrm>
          </p:grpSpPr>
          <p:sp>
            <p:nvSpPr>
              <p:cNvPr id="82" name="Oval 303"/>
              <p:cNvSpPr/>
              <p:nvPr/>
            </p:nvSpPr>
            <p:spPr bwMode="auto">
              <a:xfrm>
                <a:off x="3492500" y="1587525"/>
                <a:ext cx="728134" cy="728135"/>
              </a:xfrm>
              <a:prstGeom prst="ellipse">
                <a:avLst/>
              </a:prstGeom>
              <a:solidFill>
                <a:srgbClr val="30C1D7"/>
              </a:solidFill>
              <a:ln w="9525" algn="ctr">
                <a:noFill/>
                <a:miter lim="800000"/>
                <a:headEnd/>
                <a:tailEnd/>
              </a:ln>
            </p:spPr>
            <p:txBody>
              <a:bodyPr wrap="none" lIns="36000" tIns="10800" rIns="36000" bIns="10800" rtlCol="0" anchor="ctr"/>
              <a:lstStyle/>
              <a:p>
                <a:pPr marL="185738" indent="-185738" algn="ctr">
                  <a:buClr>
                    <a:srgbClr val="969696"/>
                  </a:buClr>
                  <a:buSzPct val="80000"/>
                  <a:defRPr/>
                </a:pPr>
                <a:endParaRPr kumimoji="0" lang="en-US" sz="1400" dirty="0">
                  <a:solidFill>
                    <a:prstClr val="black"/>
                  </a:solidFill>
                  <a:latin typeface="Meiryo UI"/>
                  <a:ea typeface="Meiryo UI"/>
                </a:endParaRPr>
              </a:p>
            </p:txBody>
          </p:sp>
          <p:pic>
            <p:nvPicPr>
              <p:cNvPr id="83" name="Picture 304"/>
              <p:cNvPicPr>
                <a:picLocks noChangeAspect="1"/>
              </p:cNvPicPr>
              <p:nvPr/>
            </p:nvPicPr>
            <p:blipFill rotWithShape="1">
              <a:blip r:embed="rId7" cstate="print">
                <a:biLevel thresh="25000"/>
                <a:extLst>
                  <a:ext uri="{28A0092B-C50C-407E-A947-70E740481C1C}">
                    <a14:useLocalDpi xmlns:a14="http://schemas.microsoft.com/office/drawing/2010/main" val="0"/>
                  </a:ext>
                </a:extLst>
              </a:blip>
              <a:srcRect t="32608" b="41643"/>
              <a:stretch/>
            </p:blipFill>
            <p:spPr>
              <a:xfrm>
                <a:off x="3492500" y="1742277"/>
                <a:ext cx="728134" cy="418631"/>
              </a:xfrm>
              <a:prstGeom prst="rect">
                <a:avLst/>
              </a:prstGeom>
            </p:spPr>
          </p:pic>
        </p:grpSp>
        <p:sp>
          <p:nvSpPr>
            <p:cNvPr id="41" name="Rectangle 262"/>
            <p:cNvSpPr/>
            <p:nvPr/>
          </p:nvSpPr>
          <p:spPr bwMode="auto">
            <a:xfrm>
              <a:off x="8852717" y="3668844"/>
              <a:ext cx="525104" cy="71115"/>
            </a:xfrm>
            <a:prstGeom prst="rect">
              <a:avLst/>
            </a:prstGeom>
            <a:noFill/>
            <a:ln w="9525" algn="ctr">
              <a:noFill/>
              <a:miter lim="800000"/>
              <a:headEnd/>
              <a:tailEnd/>
            </a:ln>
            <a:extLst>
              <a:ext uri="{909E8E84-426E-40DD-AFC4-6F175D3DCCD1}">
                <a14:hiddenFill xmlns:a14="http://schemas.microsoft.com/office/drawing/2010/main">
                  <a:solidFill>
                    <a:srgbClr val="6D2F9C"/>
                  </a:solidFill>
                </a14:hiddenFill>
              </a:ext>
            </a:extLst>
          </p:spPr>
          <p:txBody>
            <a:bodyPr wrap="none" lIns="36000" tIns="10800" rIns="36000" bIns="10800" rtlCol="0" anchor="ctr"/>
            <a:lstStyle/>
            <a:p>
              <a:pPr marL="28575">
                <a:buClr>
                  <a:srgbClr val="969696"/>
                </a:buClr>
                <a:buSzPct val="80000"/>
                <a:defRPr/>
              </a:pPr>
              <a:r>
                <a:rPr kumimoji="0" lang="en-US" altLang="ja-JP" sz="600" dirty="0">
                  <a:solidFill>
                    <a:srgbClr val="575757"/>
                  </a:solidFill>
                  <a:latin typeface="Trebuchet MS"/>
                  <a:ea typeface="Meiryo UI"/>
                </a:rPr>
                <a:t>15:00-15:35</a:t>
              </a:r>
              <a:endParaRPr kumimoji="0" lang="en-US" sz="600" dirty="0">
                <a:solidFill>
                  <a:srgbClr val="575757"/>
                </a:solidFill>
                <a:latin typeface="Trebuchet MS"/>
                <a:ea typeface="Meiryo UI"/>
              </a:endParaRPr>
            </a:p>
          </p:txBody>
        </p:sp>
        <p:pic>
          <p:nvPicPr>
            <p:cNvPr id="42" name="Picture 26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131763" y="3768510"/>
              <a:ext cx="84183" cy="74629"/>
            </a:xfrm>
            <a:prstGeom prst="rect">
              <a:avLst/>
            </a:prstGeom>
          </p:spPr>
        </p:pic>
        <p:pic>
          <p:nvPicPr>
            <p:cNvPr id="43" name="Picture 26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00369" y="3767211"/>
              <a:ext cx="47293" cy="77224"/>
            </a:xfrm>
            <a:prstGeom prst="rect">
              <a:avLst/>
            </a:prstGeom>
          </p:spPr>
        </p:pic>
        <p:sp>
          <p:nvSpPr>
            <p:cNvPr id="44" name="Chevron 265"/>
            <p:cNvSpPr/>
            <p:nvPr/>
          </p:nvSpPr>
          <p:spPr bwMode="auto">
            <a:xfrm>
              <a:off x="8869238" y="3774269"/>
              <a:ext cx="41776" cy="63110"/>
            </a:xfrm>
            <a:prstGeom prst="chevron">
              <a:avLst>
                <a:gd name="adj" fmla="val 60417"/>
              </a:avLst>
            </a:prstGeom>
            <a:solidFill>
              <a:srgbClr val="9A9A9A"/>
            </a:solidFill>
            <a:ln w="9525" algn="ctr">
              <a:noFill/>
              <a:miter lim="800000"/>
              <a:headEnd/>
              <a:tailEnd/>
            </a:ln>
            <a:extLst>
              <a:ext uri="{91240B29-F687-4F45-9708-019B960494DF}">
                <a14:hiddenLine xmlns:a14="http://schemas.microsoft.com/office/drawing/2010/main" w="9525" algn="ctr">
                  <a:solidFill>
                    <a:srgbClr val="E2E2E2"/>
                  </a:solidFill>
                  <a:miter lim="800000"/>
                  <a:headEnd/>
                  <a:tailEnd/>
                </a14:hiddenLine>
              </a:ext>
            </a:extLst>
          </p:spPr>
          <p:txBody>
            <a:bodyPr wrap="none" lIns="36000" tIns="10800" rIns="36000" bIns="10800" rtlCol="0" anchor="ctr"/>
            <a:lstStyle/>
            <a:p>
              <a:pPr marL="185738" indent="-185738" algn="ctr">
                <a:buClr>
                  <a:srgbClr val="969696"/>
                </a:buClr>
                <a:buSzPct val="80000"/>
                <a:defRPr/>
              </a:pPr>
              <a:endParaRPr kumimoji="0" lang="en-US" sz="1400" dirty="0">
                <a:solidFill>
                  <a:prstClr val="black"/>
                </a:solidFill>
                <a:latin typeface="Meiryo UI"/>
                <a:ea typeface="Meiryo UI"/>
              </a:endParaRPr>
            </a:p>
          </p:txBody>
        </p:sp>
        <p:sp>
          <p:nvSpPr>
            <p:cNvPr id="45" name="Chevron 266"/>
            <p:cNvSpPr/>
            <p:nvPr/>
          </p:nvSpPr>
          <p:spPr bwMode="auto">
            <a:xfrm>
              <a:off x="9070364" y="3774269"/>
              <a:ext cx="41776" cy="63110"/>
            </a:xfrm>
            <a:prstGeom prst="chevron">
              <a:avLst>
                <a:gd name="adj" fmla="val 60417"/>
              </a:avLst>
            </a:prstGeom>
            <a:solidFill>
              <a:srgbClr val="9A9A9A"/>
            </a:solidFill>
            <a:ln w="9525" algn="ctr">
              <a:noFill/>
              <a:miter lim="800000"/>
              <a:headEnd/>
              <a:tailEnd/>
            </a:ln>
            <a:extLst>
              <a:ext uri="{91240B29-F687-4F45-9708-019B960494DF}">
                <a14:hiddenLine xmlns:a14="http://schemas.microsoft.com/office/drawing/2010/main" w="9525" algn="ctr">
                  <a:solidFill>
                    <a:srgbClr val="E2E2E2"/>
                  </a:solidFill>
                  <a:miter lim="800000"/>
                  <a:headEnd/>
                  <a:tailEnd/>
                </a14:hiddenLine>
              </a:ext>
            </a:extLst>
          </p:spPr>
          <p:txBody>
            <a:bodyPr wrap="none" lIns="36000" tIns="10800" rIns="36000" bIns="10800" rtlCol="0" anchor="ctr"/>
            <a:lstStyle/>
            <a:p>
              <a:pPr marL="185738" indent="-185738" algn="ctr">
                <a:buClr>
                  <a:srgbClr val="969696"/>
                </a:buClr>
                <a:buSzPct val="80000"/>
                <a:defRPr/>
              </a:pPr>
              <a:endParaRPr kumimoji="0" lang="en-US" sz="1400" dirty="0">
                <a:solidFill>
                  <a:prstClr val="black"/>
                </a:solidFill>
                <a:latin typeface="Meiryo UI"/>
                <a:ea typeface="Meiryo UI"/>
              </a:endParaRPr>
            </a:p>
          </p:txBody>
        </p:sp>
        <p:sp>
          <p:nvSpPr>
            <p:cNvPr id="46" name="Chevron 267"/>
            <p:cNvSpPr/>
            <p:nvPr/>
          </p:nvSpPr>
          <p:spPr bwMode="auto">
            <a:xfrm>
              <a:off x="9235568" y="3774269"/>
              <a:ext cx="41776" cy="63110"/>
            </a:xfrm>
            <a:prstGeom prst="chevron">
              <a:avLst>
                <a:gd name="adj" fmla="val 60417"/>
              </a:avLst>
            </a:prstGeom>
            <a:solidFill>
              <a:srgbClr val="9A9A9A"/>
            </a:solidFill>
            <a:ln w="9525" algn="ctr">
              <a:noFill/>
              <a:miter lim="800000"/>
              <a:headEnd/>
              <a:tailEnd/>
            </a:ln>
            <a:extLst>
              <a:ext uri="{91240B29-F687-4F45-9708-019B960494DF}">
                <a14:hiddenLine xmlns:a14="http://schemas.microsoft.com/office/drawing/2010/main" w="9525" algn="ctr">
                  <a:solidFill>
                    <a:srgbClr val="E2E2E2"/>
                  </a:solidFill>
                  <a:miter lim="800000"/>
                  <a:headEnd/>
                  <a:tailEnd/>
                </a14:hiddenLine>
              </a:ext>
            </a:extLst>
          </p:spPr>
          <p:txBody>
            <a:bodyPr wrap="none" lIns="36000" tIns="10800" rIns="36000" bIns="10800" rtlCol="0" anchor="ctr"/>
            <a:lstStyle/>
            <a:p>
              <a:pPr marL="185738" indent="-185738" algn="ctr">
                <a:buClr>
                  <a:srgbClr val="969696"/>
                </a:buClr>
                <a:buSzPct val="80000"/>
                <a:defRPr/>
              </a:pPr>
              <a:endParaRPr kumimoji="0" lang="en-US" sz="1400" dirty="0">
                <a:solidFill>
                  <a:prstClr val="black"/>
                </a:solidFill>
                <a:latin typeface="Meiryo UI"/>
                <a:ea typeface="Meiryo UI"/>
              </a:endParaRPr>
            </a:p>
          </p:txBody>
        </p:sp>
        <p:pic>
          <p:nvPicPr>
            <p:cNvPr id="47" name="Picture 26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298922" y="3767211"/>
              <a:ext cx="47293" cy="77224"/>
            </a:xfrm>
            <a:prstGeom prst="rect">
              <a:avLst/>
            </a:prstGeom>
          </p:spPr>
        </p:pic>
        <p:sp>
          <p:nvSpPr>
            <p:cNvPr id="48" name="Rectangle 269"/>
            <p:cNvSpPr/>
            <p:nvPr/>
          </p:nvSpPr>
          <p:spPr bwMode="auto">
            <a:xfrm>
              <a:off x="8736764" y="3865922"/>
              <a:ext cx="503810" cy="71115"/>
            </a:xfrm>
            <a:prstGeom prst="rect">
              <a:avLst/>
            </a:prstGeom>
            <a:noFill/>
            <a:ln w="9525" algn="ctr">
              <a:noFill/>
              <a:miter lim="800000"/>
              <a:headEnd/>
              <a:tailEnd/>
            </a:ln>
            <a:extLst>
              <a:ext uri="{909E8E84-426E-40DD-AFC4-6F175D3DCCD1}">
                <a14:hiddenFill xmlns:a14="http://schemas.microsoft.com/office/drawing/2010/main">
                  <a:solidFill>
                    <a:srgbClr val="6D2F9C"/>
                  </a:solidFill>
                </a14:hiddenFill>
              </a:ext>
            </a:extLst>
          </p:spPr>
          <p:txBody>
            <a:bodyPr wrap="none" lIns="36000" tIns="10800" rIns="36000" bIns="10800" rtlCol="0" anchor="ctr"/>
            <a:lstStyle/>
            <a:p>
              <a:pPr marL="28575">
                <a:buClr>
                  <a:srgbClr val="969696"/>
                </a:buClr>
                <a:buSzPct val="80000"/>
                <a:defRPr/>
              </a:pPr>
              <a:r>
                <a:rPr kumimoji="0" lang="ja-JP" altLang="en-US" sz="500" dirty="0">
                  <a:solidFill>
                    <a:srgbClr val="575757"/>
                  </a:solidFill>
                  <a:latin typeface="Trebuchet MS"/>
                  <a:ea typeface="Meiryo UI"/>
                </a:rPr>
                <a:t>乗換</a:t>
              </a:r>
              <a:r>
                <a:rPr kumimoji="0" lang="en-US" altLang="ja-JP" sz="500" dirty="0">
                  <a:solidFill>
                    <a:srgbClr val="575757"/>
                  </a:solidFill>
                  <a:latin typeface="Trebuchet MS"/>
                  <a:ea typeface="Meiryo UI"/>
                </a:rPr>
                <a:t>1</a:t>
              </a:r>
              <a:r>
                <a:rPr kumimoji="0" lang="ja-JP" altLang="en-US" sz="500" dirty="0">
                  <a:solidFill>
                    <a:srgbClr val="575757"/>
                  </a:solidFill>
                  <a:latin typeface="Trebuchet MS"/>
                  <a:ea typeface="Meiryo UI"/>
                </a:rPr>
                <a:t>回</a:t>
              </a:r>
              <a:endParaRPr kumimoji="0" lang="en-US" sz="500" dirty="0">
                <a:solidFill>
                  <a:srgbClr val="575757"/>
                </a:solidFill>
                <a:latin typeface="Trebuchet MS"/>
                <a:ea typeface="Meiryo UI"/>
              </a:endParaRPr>
            </a:p>
          </p:txBody>
        </p:sp>
        <p:pic>
          <p:nvPicPr>
            <p:cNvPr id="49" name="Picture 270"/>
            <p:cNvPicPr>
              <a:picLocks noChangeAspect="1"/>
            </p:cNvPicPr>
            <p:nvPr/>
          </p:nvPicPr>
          <p:blipFill rotWithShape="1">
            <a:blip r:embed="rId7" cstate="print">
              <a:extLst>
                <a:ext uri="{28A0092B-C50C-407E-A947-70E740481C1C}">
                  <a14:useLocalDpi xmlns:a14="http://schemas.microsoft.com/office/drawing/2010/main" val="0"/>
                </a:ext>
              </a:extLst>
            </a:blip>
            <a:srcRect t="32608" b="41643"/>
            <a:stretch/>
          </p:blipFill>
          <p:spPr>
            <a:xfrm>
              <a:off x="8943038" y="3777820"/>
              <a:ext cx="112097" cy="64455"/>
            </a:xfrm>
            <a:prstGeom prst="rect">
              <a:avLst/>
            </a:prstGeom>
          </p:spPr>
        </p:pic>
        <p:grpSp>
          <p:nvGrpSpPr>
            <p:cNvPr id="50" name="Group 271"/>
            <p:cNvGrpSpPr/>
            <p:nvPr/>
          </p:nvGrpSpPr>
          <p:grpSpPr>
            <a:xfrm>
              <a:off x="8736760" y="3187170"/>
              <a:ext cx="673067" cy="360740"/>
              <a:chOff x="8945018" y="2451100"/>
              <a:chExt cx="736600" cy="394791"/>
            </a:xfrm>
          </p:grpSpPr>
          <p:sp>
            <p:nvSpPr>
              <p:cNvPr id="63" name="Rectangle 284"/>
              <p:cNvSpPr/>
              <p:nvPr/>
            </p:nvSpPr>
            <p:spPr bwMode="auto">
              <a:xfrm>
                <a:off x="8945018" y="2451100"/>
                <a:ext cx="736600" cy="394791"/>
              </a:xfrm>
              <a:prstGeom prst="rect">
                <a:avLst/>
              </a:prstGeom>
              <a:solidFill>
                <a:srgbClr val="FFFFFF"/>
              </a:solidFill>
              <a:ln w="9525" cap="flat" cmpd="sng" algn="ctr">
                <a:noFill/>
                <a:prstDash val="solid"/>
                <a:miter lim="800000"/>
                <a:headEnd type="none" w="med" len="med"/>
                <a:tailEnd type="none" w="med" len="med"/>
              </a:ln>
              <a:extLst>
                <a:ext uri="{91240B29-F687-4F45-9708-019B960494DF}">
                  <a14:hiddenLine xmlns:a14="http://schemas.microsoft.com/office/drawing/2010/main" w="9525" cap="flat" cmpd="sng" algn="ctr">
                    <a:solidFill>
                      <a:srgbClr val="9A9A9A"/>
                    </a:solidFill>
                    <a:prstDash val="solid"/>
                    <a:miter lim="800000"/>
                    <a:headEnd type="none" w="med" len="med"/>
                    <a:tailEnd type="none" w="med" len="med"/>
                  </a14:hiddenLine>
                </a:ext>
              </a:extLst>
            </p:spPr>
            <p:txBody>
              <a:bodyPr wrap="none" lIns="36000" tIns="10800" rIns="36000" bIns="10800" rtlCol="0" anchor="ctr"/>
              <a:lstStyle/>
              <a:p>
                <a:pPr marL="185738" indent="-185738" algn="r">
                  <a:buClr>
                    <a:srgbClr val="969696"/>
                  </a:buClr>
                  <a:buSzPct val="80000"/>
                  <a:defRPr/>
                </a:pPr>
                <a:endParaRPr kumimoji="0" lang="en-US" sz="1400" dirty="0">
                  <a:solidFill>
                    <a:prstClr val="black"/>
                  </a:solidFill>
                  <a:latin typeface="Meiryo UI"/>
                  <a:ea typeface="Meiryo UI"/>
                </a:endParaRPr>
              </a:p>
            </p:txBody>
          </p:sp>
          <p:sp>
            <p:nvSpPr>
              <p:cNvPr id="64" name="Rounded Rectangle 285"/>
              <p:cNvSpPr/>
              <p:nvPr/>
            </p:nvSpPr>
            <p:spPr bwMode="auto">
              <a:xfrm>
                <a:off x="9071920" y="2483193"/>
                <a:ext cx="574675" cy="75828"/>
              </a:xfrm>
              <a:prstGeom prst="roundRect">
                <a:avLst/>
              </a:prstGeom>
              <a:solidFill>
                <a:srgbClr val="6D2F9C"/>
              </a:solidFill>
              <a:ln w="9525" algn="ctr">
                <a:noFill/>
                <a:miter lim="800000"/>
                <a:headEnd/>
                <a:tailEnd/>
              </a:ln>
            </p:spPr>
            <p:txBody>
              <a:bodyPr wrap="square" lIns="36000" tIns="10800" rIns="36000" bIns="10800" rtlCol="0" anchor="ctr"/>
              <a:lstStyle/>
              <a:p>
                <a:pPr marL="28575">
                  <a:buClr>
                    <a:srgbClr val="969696"/>
                  </a:buClr>
                  <a:buSzPct val="80000"/>
                  <a:defRPr/>
                </a:pPr>
                <a:r>
                  <a:rPr kumimoji="0" lang="ja-JP" altLang="en-US" sz="500" dirty="0">
                    <a:solidFill>
                      <a:srgbClr val="FFFFFF"/>
                    </a:solidFill>
                    <a:latin typeface="Meiryo UI"/>
                    <a:ea typeface="Meiryo UI"/>
                  </a:rPr>
                  <a:t>オンデマンドバス</a:t>
                </a:r>
                <a:endParaRPr kumimoji="0" lang="en-US" sz="500" dirty="0">
                  <a:solidFill>
                    <a:srgbClr val="FFFFFF"/>
                  </a:solidFill>
                  <a:latin typeface="Meiryo UI"/>
                  <a:ea typeface="Meiryo UI"/>
                </a:endParaRPr>
              </a:p>
            </p:txBody>
          </p:sp>
          <p:grpSp>
            <p:nvGrpSpPr>
              <p:cNvPr id="65" name="Group 286"/>
              <p:cNvGrpSpPr/>
              <p:nvPr/>
            </p:nvGrpSpPr>
            <p:grpSpPr>
              <a:xfrm>
                <a:off x="8980043" y="2470024"/>
                <a:ext cx="140252" cy="140266"/>
                <a:chOff x="2204488" y="1587525"/>
                <a:chExt cx="728134" cy="728134"/>
              </a:xfrm>
            </p:grpSpPr>
            <p:sp>
              <p:nvSpPr>
                <p:cNvPr id="79" name="Oval 300"/>
                <p:cNvSpPr/>
                <p:nvPr/>
              </p:nvSpPr>
              <p:spPr bwMode="auto">
                <a:xfrm>
                  <a:off x="2204488" y="1587525"/>
                  <a:ext cx="728134" cy="728134"/>
                </a:xfrm>
                <a:prstGeom prst="ellipse">
                  <a:avLst/>
                </a:prstGeom>
                <a:solidFill>
                  <a:srgbClr val="6D2F9C"/>
                </a:solidFill>
                <a:ln w="9525" algn="ctr">
                  <a:noFill/>
                  <a:miter lim="800000"/>
                  <a:headEnd/>
                  <a:tailEnd/>
                </a:ln>
              </p:spPr>
              <p:txBody>
                <a:bodyPr wrap="none" lIns="36000" tIns="10800" rIns="36000" bIns="10800" rtlCol="0" anchor="ctr"/>
                <a:lstStyle/>
                <a:p>
                  <a:pPr marL="185738" indent="-185738" algn="ctr">
                    <a:buClr>
                      <a:srgbClr val="969696"/>
                    </a:buClr>
                    <a:buSzPct val="80000"/>
                    <a:defRPr/>
                  </a:pPr>
                  <a:endParaRPr kumimoji="0" lang="en-US" sz="1400" dirty="0">
                    <a:solidFill>
                      <a:prstClr val="black"/>
                    </a:solidFill>
                    <a:latin typeface="Meiryo UI"/>
                    <a:ea typeface="Meiryo UI"/>
                  </a:endParaRPr>
                </a:p>
              </p:txBody>
            </p:sp>
            <p:pic>
              <p:nvPicPr>
                <p:cNvPr id="80" name="Picture 301"/>
                <p:cNvPicPr>
                  <a:picLocks noChangeAspect="1"/>
                </p:cNvPicPr>
                <p:nvPr/>
              </p:nvPicPr>
              <p:blipFill rotWithShape="1">
                <a:blip r:embed="rId7" cstate="print">
                  <a:biLevel thresh="25000"/>
                  <a:extLst>
                    <a:ext uri="{28A0092B-C50C-407E-A947-70E740481C1C}">
                      <a14:useLocalDpi xmlns:a14="http://schemas.microsoft.com/office/drawing/2010/main" val="0"/>
                    </a:ext>
                  </a:extLst>
                </a:blip>
                <a:srcRect l="4383" r="4383" b="76479"/>
                <a:stretch/>
              </p:blipFill>
              <p:spPr>
                <a:xfrm>
                  <a:off x="2334296" y="1934633"/>
                  <a:ext cx="485450" cy="279450"/>
                </a:xfrm>
                <a:prstGeom prst="rect">
                  <a:avLst/>
                </a:prstGeom>
              </p:spPr>
            </p:pic>
            <p:sp>
              <p:nvSpPr>
                <p:cNvPr id="81" name="Freeform 302"/>
                <p:cNvSpPr>
                  <a:spLocks noEditPoints="1"/>
                </p:cNvSpPr>
                <p:nvPr/>
              </p:nvSpPr>
              <p:spPr bwMode="auto">
                <a:xfrm>
                  <a:off x="2356293" y="1662040"/>
                  <a:ext cx="331874" cy="238297"/>
                </a:xfrm>
                <a:custGeom>
                  <a:avLst/>
                  <a:gdLst>
                    <a:gd name="T0" fmla="*/ 447 w 894"/>
                    <a:gd name="T1" fmla="*/ 642 h 642"/>
                    <a:gd name="T2" fmla="*/ 360 w 894"/>
                    <a:gd name="T3" fmla="*/ 555 h 642"/>
                    <a:gd name="T4" fmla="*/ 447 w 894"/>
                    <a:gd name="T5" fmla="*/ 468 h 642"/>
                    <a:gd name="T6" fmla="*/ 534 w 894"/>
                    <a:gd name="T7" fmla="*/ 555 h 642"/>
                    <a:gd name="T8" fmla="*/ 447 w 894"/>
                    <a:gd name="T9" fmla="*/ 642 h 642"/>
                    <a:gd name="T10" fmla="*/ 636 w 894"/>
                    <a:gd name="T11" fmla="*/ 459 h 642"/>
                    <a:gd name="T12" fmla="*/ 642 w 894"/>
                    <a:gd name="T13" fmla="*/ 397 h 642"/>
                    <a:gd name="T14" fmla="*/ 447 w 894"/>
                    <a:gd name="T15" fmla="*/ 304 h 642"/>
                    <a:gd name="T16" fmla="*/ 252 w 894"/>
                    <a:gd name="T17" fmla="*/ 397 h 642"/>
                    <a:gd name="T18" fmla="*/ 258 w 894"/>
                    <a:gd name="T19" fmla="*/ 459 h 642"/>
                    <a:gd name="T20" fmla="*/ 320 w 894"/>
                    <a:gd name="T21" fmla="*/ 452 h 642"/>
                    <a:gd name="T22" fmla="*/ 447 w 894"/>
                    <a:gd name="T23" fmla="*/ 392 h 642"/>
                    <a:gd name="T24" fmla="*/ 574 w 894"/>
                    <a:gd name="T25" fmla="*/ 452 h 642"/>
                    <a:gd name="T26" fmla="*/ 608 w 894"/>
                    <a:gd name="T27" fmla="*/ 469 h 642"/>
                    <a:gd name="T28" fmla="*/ 636 w 894"/>
                    <a:gd name="T29" fmla="*/ 459 h 642"/>
                    <a:gd name="T30" fmla="*/ 749 w 894"/>
                    <a:gd name="T31" fmla="*/ 368 h 642"/>
                    <a:gd name="T32" fmla="*/ 755 w 894"/>
                    <a:gd name="T33" fmla="*/ 306 h 642"/>
                    <a:gd name="T34" fmla="*/ 447 w 894"/>
                    <a:gd name="T35" fmla="*/ 159 h 642"/>
                    <a:gd name="T36" fmla="*/ 139 w 894"/>
                    <a:gd name="T37" fmla="*/ 306 h 642"/>
                    <a:gd name="T38" fmla="*/ 145 w 894"/>
                    <a:gd name="T39" fmla="*/ 368 h 642"/>
                    <a:gd name="T40" fmla="*/ 207 w 894"/>
                    <a:gd name="T41" fmla="*/ 361 h 642"/>
                    <a:gd name="T42" fmla="*/ 447 w 894"/>
                    <a:gd name="T43" fmla="*/ 247 h 642"/>
                    <a:gd name="T44" fmla="*/ 687 w 894"/>
                    <a:gd name="T45" fmla="*/ 361 h 642"/>
                    <a:gd name="T46" fmla="*/ 721 w 894"/>
                    <a:gd name="T47" fmla="*/ 378 h 642"/>
                    <a:gd name="T48" fmla="*/ 749 w 894"/>
                    <a:gd name="T49" fmla="*/ 368 h 642"/>
                    <a:gd name="T50" fmla="*/ 872 w 894"/>
                    <a:gd name="T51" fmla="*/ 269 h 642"/>
                    <a:gd name="T52" fmla="*/ 879 w 894"/>
                    <a:gd name="T53" fmla="*/ 207 h 642"/>
                    <a:gd name="T54" fmla="*/ 447 w 894"/>
                    <a:gd name="T55" fmla="*/ 0 h 642"/>
                    <a:gd name="T56" fmla="*/ 15 w 894"/>
                    <a:gd name="T57" fmla="*/ 207 h 642"/>
                    <a:gd name="T58" fmla="*/ 22 w 894"/>
                    <a:gd name="T59" fmla="*/ 269 h 642"/>
                    <a:gd name="T60" fmla="*/ 84 w 894"/>
                    <a:gd name="T61" fmla="*/ 262 h 642"/>
                    <a:gd name="T62" fmla="*/ 447 w 894"/>
                    <a:gd name="T63" fmla="*/ 88 h 642"/>
                    <a:gd name="T64" fmla="*/ 810 w 894"/>
                    <a:gd name="T65" fmla="*/ 262 h 642"/>
                    <a:gd name="T66" fmla="*/ 844 w 894"/>
                    <a:gd name="T67" fmla="*/ 278 h 642"/>
                    <a:gd name="T68" fmla="*/ 872 w 894"/>
                    <a:gd name="T69" fmla="*/ 269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94" h="642">
                      <a:moveTo>
                        <a:pt x="447" y="642"/>
                      </a:moveTo>
                      <a:cubicBezTo>
                        <a:pt x="399" y="642"/>
                        <a:pt x="360" y="603"/>
                        <a:pt x="360" y="555"/>
                      </a:cubicBezTo>
                      <a:cubicBezTo>
                        <a:pt x="360" y="507"/>
                        <a:pt x="399" y="468"/>
                        <a:pt x="447" y="468"/>
                      </a:cubicBezTo>
                      <a:cubicBezTo>
                        <a:pt x="495" y="468"/>
                        <a:pt x="534" y="507"/>
                        <a:pt x="534" y="555"/>
                      </a:cubicBezTo>
                      <a:cubicBezTo>
                        <a:pt x="534" y="603"/>
                        <a:pt x="495" y="642"/>
                        <a:pt x="447" y="642"/>
                      </a:cubicBezTo>
                      <a:close/>
                      <a:moveTo>
                        <a:pt x="636" y="459"/>
                      </a:moveTo>
                      <a:cubicBezTo>
                        <a:pt x="655" y="444"/>
                        <a:pt x="658" y="416"/>
                        <a:pt x="642" y="397"/>
                      </a:cubicBezTo>
                      <a:cubicBezTo>
                        <a:pt x="594" y="338"/>
                        <a:pt x="523" y="304"/>
                        <a:pt x="447" y="304"/>
                      </a:cubicBezTo>
                      <a:cubicBezTo>
                        <a:pt x="371" y="304"/>
                        <a:pt x="300" y="338"/>
                        <a:pt x="252" y="397"/>
                      </a:cubicBezTo>
                      <a:cubicBezTo>
                        <a:pt x="236" y="416"/>
                        <a:pt x="239" y="444"/>
                        <a:pt x="258" y="459"/>
                      </a:cubicBezTo>
                      <a:cubicBezTo>
                        <a:pt x="277" y="474"/>
                        <a:pt x="305" y="471"/>
                        <a:pt x="320" y="452"/>
                      </a:cubicBezTo>
                      <a:cubicBezTo>
                        <a:pt x="351" y="414"/>
                        <a:pt x="398" y="392"/>
                        <a:pt x="447" y="392"/>
                      </a:cubicBezTo>
                      <a:cubicBezTo>
                        <a:pt x="496" y="392"/>
                        <a:pt x="543" y="414"/>
                        <a:pt x="574" y="452"/>
                      </a:cubicBezTo>
                      <a:cubicBezTo>
                        <a:pt x="583" y="463"/>
                        <a:pt x="595" y="469"/>
                        <a:pt x="608" y="469"/>
                      </a:cubicBezTo>
                      <a:cubicBezTo>
                        <a:pt x="618" y="469"/>
                        <a:pt x="628" y="466"/>
                        <a:pt x="636" y="459"/>
                      </a:cubicBezTo>
                      <a:close/>
                      <a:moveTo>
                        <a:pt x="749" y="368"/>
                      </a:moveTo>
                      <a:cubicBezTo>
                        <a:pt x="768" y="353"/>
                        <a:pt x="770" y="325"/>
                        <a:pt x="755" y="306"/>
                      </a:cubicBezTo>
                      <a:cubicBezTo>
                        <a:pt x="680" y="212"/>
                        <a:pt x="567" y="159"/>
                        <a:pt x="447" y="159"/>
                      </a:cubicBezTo>
                      <a:cubicBezTo>
                        <a:pt x="327" y="159"/>
                        <a:pt x="214" y="212"/>
                        <a:pt x="139" y="306"/>
                      </a:cubicBezTo>
                      <a:cubicBezTo>
                        <a:pt x="124" y="325"/>
                        <a:pt x="126" y="353"/>
                        <a:pt x="145" y="368"/>
                      </a:cubicBezTo>
                      <a:cubicBezTo>
                        <a:pt x="164" y="383"/>
                        <a:pt x="192" y="380"/>
                        <a:pt x="207" y="361"/>
                      </a:cubicBezTo>
                      <a:cubicBezTo>
                        <a:pt x="266" y="289"/>
                        <a:pt x="354" y="247"/>
                        <a:pt x="447" y="247"/>
                      </a:cubicBezTo>
                      <a:cubicBezTo>
                        <a:pt x="540" y="247"/>
                        <a:pt x="628" y="289"/>
                        <a:pt x="687" y="361"/>
                      </a:cubicBezTo>
                      <a:cubicBezTo>
                        <a:pt x="695" y="372"/>
                        <a:pt x="708" y="378"/>
                        <a:pt x="721" y="378"/>
                      </a:cubicBezTo>
                      <a:cubicBezTo>
                        <a:pt x="731" y="378"/>
                        <a:pt x="740" y="375"/>
                        <a:pt x="749" y="368"/>
                      </a:cubicBezTo>
                      <a:close/>
                      <a:moveTo>
                        <a:pt x="872" y="269"/>
                      </a:moveTo>
                      <a:cubicBezTo>
                        <a:pt x="891" y="253"/>
                        <a:pt x="894" y="226"/>
                        <a:pt x="879" y="207"/>
                      </a:cubicBezTo>
                      <a:cubicBezTo>
                        <a:pt x="773" y="76"/>
                        <a:pt x="615" y="0"/>
                        <a:pt x="447" y="0"/>
                      </a:cubicBezTo>
                      <a:cubicBezTo>
                        <a:pt x="279" y="0"/>
                        <a:pt x="121" y="76"/>
                        <a:pt x="15" y="207"/>
                      </a:cubicBezTo>
                      <a:cubicBezTo>
                        <a:pt x="0" y="226"/>
                        <a:pt x="3" y="253"/>
                        <a:pt x="22" y="269"/>
                      </a:cubicBezTo>
                      <a:cubicBezTo>
                        <a:pt x="41" y="284"/>
                        <a:pt x="69" y="281"/>
                        <a:pt x="84" y="262"/>
                      </a:cubicBezTo>
                      <a:cubicBezTo>
                        <a:pt x="173" y="152"/>
                        <a:pt x="305" y="88"/>
                        <a:pt x="447" y="88"/>
                      </a:cubicBezTo>
                      <a:cubicBezTo>
                        <a:pt x="589" y="88"/>
                        <a:pt x="721" y="152"/>
                        <a:pt x="810" y="262"/>
                      </a:cubicBezTo>
                      <a:cubicBezTo>
                        <a:pt x="819" y="273"/>
                        <a:pt x="832" y="278"/>
                        <a:pt x="844" y="278"/>
                      </a:cubicBezTo>
                      <a:cubicBezTo>
                        <a:pt x="854" y="278"/>
                        <a:pt x="864" y="275"/>
                        <a:pt x="872" y="269"/>
                      </a:cubicBezTo>
                      <a:close/>
                    </a:path>
                  </a:pathLst>
                </a:custGeom>
                <a:solidFill>
                  <a:srgbClr val="FFFFFF"/>
                </a:solidFill>
                <a:ln>
                  <a:noFill/>
                </a:ln>
              </p:spPr>
              <p:txBody>
                <a:bodyPr vert="horz" wrap="square" lIns="54864" tIns="27432" rIns="54864" bIns="27432" numCol="1" anchor="t" anchorCtr="0" compatLnSpc="1">
                  <a:prstTxWarp prst="textNoShape">
                    <a:avLst/>
                  </a:prstTxWarp>
                </a:bodyPr>
                <a:lstStyle/>
                <a:p>
                  <a:pPr>
                    <a:defRPr/>
                  </a:pPr>
                  <a:endParaRPr kumimoji="0" lang="en-US" dirty="0">
                    <a:solidFill>
                      <a:prstClr val="black"/>
                    </a:solidFill>
                    <a:latin typeface="Trebuchet MS"/>
                    <a:ea typeface="Meiryo UI"/>
                  </a:endParaRPr>
                </a:p>
              </p:txBody>
            </p:sp>
          </p:grpSp>
          <p:sp>
            <p:nvSpPr>
              <p:cNvPr id="66" name="Rectangle 287"/>
              <p:cNvSpPr/>
              <p:nvPr/>
            </p:nvSpPr>
            <p:spPr bwMode="auto">
              <a:xfrm>
                <a:off x="9071920" y="2558561"/>
                <a:ext cx="574675" cy="75828"/>
              </a:xfrm>
              <a:prstGeom prst="rect">
                <a:avLst/>
              </a:prstGeom>
              <a:noFill/>
              <a:ln w="9525" algn="ctr">
                <a:noFill/>
                <a:miter lim="800000"/>
                <a:headEnd/>
                <a:tailEnd/>
              </a:ln>
              <a:extLst>
                <a:ext uri="{909E8E84-426E-40DD-AFC4-6F175D3DCCD1}">
                  <a14:hiddenFill xmlns:a14="http://schemas.microsoft.com/office/drawing/2010/main">
                    <a:solidFill>
                      <a:srgbClr val="6D2F9C"/>
                    </a:solidFill>
                  </a14:hiddenFill>
                </a:ext>
              </a:extLst>
            </p:spPr>
            <p:txBody>
              <a:bodyPr wrap="none" lIns="36000" tIns="10800" rIns="36000" bIns="10800" rtlCol="0" anchor="ctr"/>
              <a:lstStyle/>
              <a:p>
                <a:pPr marL="28575">
                  <a:buClr>
                    <a:srgbClr val="969696"/>
                  </a:buClr>
                  <a:buSzPct val="80000"/>
                  <a:defRPr/>
                </a:pPr>
                <a:r>
                  <a:rPr kumimoji="0" lang="en-US" altLang="ja-JP" sz="600" dirty="0">
                    <a:solidFill>
                      <a:srgbClr val="575757"/>
                    </a:solidFill>
                    <a:latin typeface="Trebuchet MS"/>
                    <a:ea typeface="Meiryo UI"/>
                  </a:rPr>
                  <a:t>15:00-15:33</a:t>
                </a:r>
                <a:endParaRPr kumimoji="0" lang="en-US" sz="600" dirty="0">
                  <a:solidFill>
                    <a:srgbClr val="575757"/>
                  </a:solidFill>
                  <a:latin typeface="Trebuchet MS"/>
                  <a:ea typeface="Meiryo UI"/>
                </a:endParaRPr>
              </a:p>
            </p:txBody>
          </p:sp>
          <p:grpSp>
            <p:nvGrpSpPr>
              <p:cNvPr id="67" name="Group 288"/>
              <p:cNvGrpSpPr/>
              <p:nvPr/>
            </p:nvGrpSpPr>
            <p:grpSpPr>
              <a:xfrm>
                <a:off x="9014631" y="2656169"/>
                <a:ext cx="597375" cy="96904"/>
                <a:chOff x="9014631" y="4293256"/>
                <a:chExt cx="597375" cy="96904"/>
              </a:xfrm>
            </p:grpSpPr>
            <p:pic>
              <p:nvPicPr>
                <p:cNvPr id="70" name="Picture 29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377309" y="4301921"/>
                  <a:ext cx="92130" cy="79574"/>
                </a:xfrm>
                <a:prstGeom prst="rect">
                  <a:avLst/>
                </a:prstGeom>
              </p:spPr>
            </p:pic>
            <p:pic>
              <p:nvPicPr>
                <p:cNvPr id="71" name="Picture 29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014631" y="4300537"/>
                  <a:ext cx="51757" cy="82341"/>
                </a:xfrm>
                <a:prstGeom prst="rect">
                  <a:avLst/>
                </a:prstGeom>
              </p:spPr>
            </p:pic>
            <p:grpSp>
              <p:nvGrpSpPr>
                <p:cNvPr id="72" name="Group 293"/>
                <p:cNvGrpSpPr/>
                <p:nvPr/>
              </p:nvGrpSpPr>
              <p:grpSpPr>
                <a:xfrm>
                  <a:off x="9156240" y="4293256"/>
                  <a:ext cx="133356" cy="96904"/>
                  <a:chOff x="8078584" y="4110350"/>
                  <a:chExt cx="127165" cy="92407"/>
                </a:xfrm>
              </p:grpSpPr>
              <p:sp>
                <p:nvSpPr>
                  <p:cNvPr id="77" name="Freeform 298"/>
                  <p:cNvSpPr>
                    <a:spLocks noEditPoints="1"/>
                  </p:cNvSpPr>
                  <p:nvPr/>
                </p:nvSpPr>
                <p:spPr bwMode="auto">
                  <a:xfrm>
                    <a:off x="8078584" y="4110350"/>
                    <a:ext cx="63925" cy="45905"/>
                  </a:xfrm>
                  <a:custGeom>
                    <a:avLst/>
                    <a:gdLst>
                      <a:gd name="T0" fmla="*/ 447 w 894"/>
                      <a:gd name="T1" fmla="*/ 642 h 642"/>
                      <a:gd name="T2" fmla="*/ 360 w 894"/>
                      <a:gd name="T3" fmla="*/ 555 h 642"/>
                      <a:gd name="T4" fmla="*/ 447 w 894"/>
                      <a:gd name="T5" fmla="*/ 468 h 642"/>
                      <a:gd name="T6" fmla="*/ 534 w 894"/>
                      <a:gd name="T7" fmla="*/ 555 h 642"/>
                      <a:gd name="T8" fmla="*/ 447 w 894"/>
                      <a:gd name="T9" fmla="*/ 642 h 642"/>
                      <a:gd name="T10" fmla="*/ 636 w 894"/>
                      <a:gd name="T11" fmla="*/ 459 h 642"/>
                      <a:gd name="T12" fmla="*/ 642 w 894"/>
                      <a:gd name="T13" fmla="*/ 397 h 642"/>
                      <a:gd name="T14" fmla="*/ 447 w 894"/>
                      <a:gd name="T15" fmla="*/ 304 h 642"/>
                      <a:gd name="T16" fmla="*/ 252 w 894"/>
                      <a:gd name="T17" fmla="*/ 397 h 642"/>
                      <a:gd name="T18" fmla="*/ 258 w 894"/>
                      <a:gd name="T19" fmla="*/ 459 h 642"/>
                      <a:gd name="T20" fmla="*/ 320 w 894"/>
                      <a:gd name="T21" fmla="*/ 452 h 642"/>
                      <a:gd name="T22" fmla="*/ 447 w 894"/>
                      <a:gd name="T23" fmla="*/ 392 h 642"/>
                      <a:gd name="T24" fmla="*/ 574 w 894"/>
                      <a:gd name="T25" fmla="*/ 452 h 642"/>
                      <a:gd name="T26" fmla="*/ 608 w 894"/>
                      <a:gd name="T27" fmla="*/ 469 h 642"/>
                      <a:gd name="T28" fmla="*/ 636 w 894"/>
                      <a:gd name="T29" fmla="*/ 459 h 642"/>
                      <a:gd name="T30" fmla="*/ 749 w 894"/>
                      <a:gd name="T31" fmla="*/ 368 h 642"/>
                      <a:gd name="T32" fmla="*/ 755 w 894"/>
                      <a:gd name="T33" fmla="*/ 306 h 642"/>
                      <a:gd name="T34" fmla="*/ 447 w 894"/>
                      <a:gd name="T35" fmla="*/ 159 h 642"/>
                      <a:gd name="T36" fmla="*/ 139 w 894"/>
                      <a:gd name="T37" fmla="*/ 306 h 642"/>
                      <a:gd name="T38" fmla="*/ 145 w 894"/>
                      <a:gd name="T39" fmla="*/ 368 h 642"/>
                      <a:gd name="T40" fmla="*/ 207 w 894"/>
                      <a:gd name="T41" fmla="*/ 361 h 642"/>
                      <a:gd name="T42" fmla="*/ 447 w 894"/>
                      <a:gd name="T43" fmla="*/ 247 h 642"/>
                      <a:gd name="T44" fmla="*/ 687 w 894"/>
                      <a:gd name="T45" fmla="*/ 361 h 642"/>
                      <a:gd name="T46" fmla="*/ 721 w 894"/>
                      <a:gd name="T47" fmla="*/ 378 h 642"/>
                      <a:gd name="T48" fmla="*/ 749 w 894"/>
                      <a:gd name="T49" fmla="*/ 368 h 642"/>
                      <a:gd name="T50" fmla="*/ 872 w 894"/>
                      <a:gd name="T51" fmla="*/ 269 h 642"/>
                      <a:gd name="T52" fmla="*/ 879 w 894"/>
                      <a:gd name="T53" fmla="*/ 207 h 642"/>
                      <a:gd name="T54" fmla="*/ 447 w 894"/>
                      <a:gd name="T55" fmla="*/ 0 h 642"/>
                      <a:gd name="T56" fmla="*/ 15 w 894"/>
                      <a:gd name="T57" fmla="*/ 207 h 642"/>
                      <a:gd name="T58" fmla="*/ 22 w 894"/>
                      <a:gd name="T59" fmla="*/ 269 h 642"/>
                      <a:gd name="T60" fmla="*/ 84 w 894"/>
                      <a:gd name="T61" fmla="*/ 262 h 642"/>
                      <a:gd name="T62" fmla="*/ 447 w 894"/>
                      <a:gd name="T63" fmla="*/ 88 h 642"/>
                      <a:gd name="T64" fmla="*/ 810 w 894"/>
                      <a:gd name="T65" fmla="*/ 262 h 642"/>
                      <a:gd name="T66" fmla="*/ 844 w 894"/>
                      <a:gd name="T67" fmla="*/ 278 h 642"/>
                      <a:gd name="T68" fmla="*/ 872 w 894"/>
                      <a:gd name="T69" fmla="*/ 269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94" h="642">
                        <a:moveTo>
                          <a:pt x="447" y="642"/>
                        </a:moveTo>
                        <a:cubicBezTo>
                          <a:pt x="399" y="642"/>
                          <a:pt x="360" y="603"/>
                          <a:pt x="360" y="555"/>
                        </a:cubicBezTo>
                        <a:cubicBezTo>
                          <a:pt x="360" y="507"/>
                          <a:pt x="399" y="468"/>
                          <a:pt x="447" y="468"/>
                        </a:cubicBezTo>
                        <a:cubicBezTo>
                          <a:pt x="495" y="468"/>
                          <a:pt x="534" y="507"/>
                          <a:pt x="534" y="555"/>
                        </a:cubicBezTo>
                        <a:cubicBezTo>
                          <a:pt x="534" y="603"/>
                          <a:pt x="495" y="642"/>
                          <a:pt x="447" y="642"/>
                        </a:cubicBezTo>
                        <a:close/>
                        <a:moveTo>
                          <a:pt x="636" y="459"/>
                        </a:moveTo>
                        <a:cubicBezTo>
                          <a:pt x="655" y="444"/>
                          <a:pt x="658" y="416"/>
                          <a:pt x="642" y="397"/>
                        </a:cubicBezTo>
                        <a:cubicBezTo>
                          <a:pt x="594" y="338"/>
                          <a:pt x="523" y="304"/>
                          <a:pt x="447" y="304"/>
                        </a:cubicBezTo>
                        <a:cubicBezTo>
                          <a:pt x="371" y="304"/>
                          <a:pt x="300" y="338"/>
                          <a:pt x="252" y="397"/>
                        </a:cubicBezTo>
                        <a:cubicBezTo>
                          <a:pt x="236" y="416"/>
                          <a:pt x="239" y="444"/>
                          <a:pt x="258" y="459"/>
                        </a:cubicBezTo>
                        <a:cubicBezTo>
                          <a:pt x="277" y="474"/>
                          <a:pt x="305" y="471"/>
                          <a:pt x="320" y="452"/>
                        </a:cubicBezTo>
                        <a:cubicBezTo>
                          <a:pt x="351" y="414"/>
                          <a:pt x="398" y="392"/>
                          <a:pt x="447" y="392"/>
                        </a:cubicBezTo>
                        <a:cubicBezTo>
                          <a:pt x="496" y="392"/>
                          <a:pt x="543" y="414"/>
                          <a:pt x="574" y="452"/>
                        </a:cubicBezTo>
                        <a:cubicBezTo>
                          <a:pt x="583" y="463"/>
                          <a:pt x="595" y="469"/>
                          <a:pt x="608" y="469"/>
                        </a:cubicBezTo>
                        <a:cubicBezTo>
                          <a:pt x="618" y="469"/>
                          <a:pt x="628" y="466"/>
                          <a:pt x="636" y="459"/>
                        </a:cubicBezTo>
                        <a:close/>
                        <a:moveTo>
                          <a:pt x="749" y="368"/>
                        </a:moveTo>
                        <a:cubicBezTo>
                          <a:pt x="768" y="353"/>
                          <a:pt x="770" y="325"/>
                          <a:pt x="755" y="306"/>
                        </a:cubicBezTo>
                        <a:cubicBezTo>
                          <a:pt x="680" y="212"/>
                          <a:pt x="567" y="159"/>
                          <a:pt x="447" y="159"/>
                        </a:cubicBezTo>
                        <a:cubicBezTo>
                          <a:pt x="327" y="159"/>
                          <a:pt x="214" y="212"/>
                          <a:pt x="139" y="306"/>
                        </a:cubicBezTo>
                        <a:cubicBezTo>
                          <a:pt x="124" y="325"/>
                          <a:pt x="126" y="353"/>
                          <a:pt x="145" y="368"/>
                        </a:cubicBezTo>
                        <a:cubicBezTo>
                          <a:pt x="164" y="383"/>
                          <a:pt x="192" y="380"/>
                          <a:pt x="207" y="361"/>
                        </a:cubicBezTo>
                        <a:cubicBezTo>
                          <a:pt x="266" y="289"/>
                          <a:pt x="354" y="247"/>
                          <a:pt x="447" y="247"/>
                        </a:cubicBezTo>
                        <a:cubicBezTo>
                          <a:pt x="540" y="247"/>
                          <a:pt x="628" y="289"/>
                          <a:pt x="687" y="361"/>
                        </a:cubicBezTo>
                        <a:cubicBezTo>
                          <a:pt x="695" y="372"/>
                          <a:pt x="708" y="378"/>
                          <a:pt x="721" y="378"/>
                        </a:cubicBezTo>
                        <a:cubicBezTo>
                          <a:pt x="731" y="378"/>
                          <a:pt x="740" y="375"/>
                          <a:pt x="749" y="368"/>
                        </a:cubicBezTo>
                        <a:close/>
                        <a:moveTo>
                          <a:pt x="872" y="269"/>
                        </a:moveTo>
                        <a:cubicBezTo>
                          <a:pt x="891" y="253"/>
                          <a:pt x="894" y="226"/>
                          <a:pt x="879" y="207"/>
                        </a:cubicBezTo>
                        <a:cubicBezTo>
                          <a:pt x="773" y="76"/>
                          <a:pt x="615" y="0"/>
                          <a:pt x="447" y="0"/>
                        </a:cubicBezTo>
                        <a:cubicBezTo>
                          <a:pt x="279" y="0"/>
                          <a:pt x="121" y="76"/>
                          <a:pt x="15" y="207"/>
                        </a:cubicBezTo>
                        <a:cubicBezTo>
                          <a:pt x="0" y="226"/>
                          <a:pt x="3" y="253"/>
                          <a:pt x="22" y="269"/>
                        </a:cubicBezTo>
                        <a:cubicBezTo>
                          <a:pt x="41" y="284"/>
                          <a:pt x="69" y="281"/>
                          <a:pt x="84" y="262"/>
                        </a:cubicBezTo>
                        <a:cubicBezTo>
                          <a:pt x="173" y="152"/>
                          <a:pt x="305" y="88"/>
                          <a:pt x="447" y="88"/>
                        </a:cubicBezTo>
                        <a:cubicBezTo>
                          <a:pt x="589" y="88"/>
                          <a:pt x="721" y="152"/>
                          <a:pt x="810" y="262"/>
                        </a:cubicBezTo>
                        <a:cubicBezTo>
                          <a:pt x="819" y="273"/>
                          <a:pt x="832" y="278"/>
                          <a:pt x="844" y="278"/>
                        </a:cubicBezTo>
                        <a:cubicBezTo>
                          <a:pt x="854" y="278"/>
                          <a:pt x="864" y="275"/>
                          <a:pt x="872" y="269"/>
                        </a:cubicBezTo>
                        <a:close/>
                      </a:path>
                    </a:pathLst>
                  </a:custGeom>
                  <a:solidFill>
                    <a:srgbClr val="6E6F73"/>
                  </a:solidFill>
                  <a:ln>
                    <a:noFill/>
                  </a:ln>
                </p:spPr>
                <p:txBody>
                  <a:bodyPr vert="horz" wrap="square" lIns="54864" tIns="27432" rIns="54864" bIns="27432" numCol="1" anchor="t" anchorCtr="0" compatLnSpc="1">
                    <a:prstTxWarp prst="textNoShape">
                      <a:avLst/>
                    </a:prstTxWarp>
                  </a:bodyPr>
                  <a:lstStyle/>
                  <a:p>
                    <a:pPr>
                      <a:defRPr/>
                    </a:pPr>
                    <a:endParaRPr kumimoji="0" lang="en-US" dirty="0">
                      <a:solidFill>
                        <a:prstClr val="black"/>
                      </a:solidFill>
                      <a:latin typeface="Trebuchet MS"/>
                      <a:ea typeface="Meiryo UI"/>
                    </a:endParaRPr>
                  </a:p>
                </p:txBody>
              </p:sp>
              <p:pic>
                <p:nvPicPr>
                  <p:cNvPr id="78" name="Picture 29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120087" y="4151313"/>
                    <a:ext cx="85662" cy="51444"/>
                  </a:xfrm>
                  <a:prstGeom prst="rect">
                    <a:avLst/>
                  </a:prstGeom>
                </p:spPr>
              </p:pic>
            </p:grpSp>
            <p:sp>
              <p:nvSpPr>
                <p:cNvPr id="73" name="Chevron 294"/>
                <p:cNvSpPr/>
                <p:nvPr/>
              </p:nvSpPr>
              <p:spPr bwMode="auto">
                <a:xfrm>
                  <a:off x="9090002" y="4308062"/>
                  <a:ext cx="45719" cy="67292"/>
                </a:xfrm>
                <a:prstGeom prst="chevron">
                  <a:avLst>
                    <a:gd name="adj" fmla="val 60417"/>
                  </a:avLst>
                </a:prstGeom>
                <a:solidFill>
                  <a:srgbClr val="9A9A9A"/>
                </a:solidFill>
                <a:ln w="9525" algn="ctr">
                  <a:noFill/>
                  <a:miter lim="800000"/>
                  <a:headEnd/>
                  <a:tailEnd/>
                </a:ln>
                <a:extLst>
                  <a:ext uri="{91240B29-F687-4F45-9708-019B960494DF}">
                    <a14:hiddenLine xmlns:a14="http://schemas.microsoft.com/office/drawing/2010/main" w="9525" algn="ctr">
                      <a:solidFill>
                        <a:srgbClr val="E2E2E2"/>
                      </a:solidFill>
                      <a:miter lim="800000"/>
                      <a:headEnd/>
                      <a:tailEnd/>
                    </a14:hiddenLine>
                  </a:ext>
                </a:extLst>
              </p:spPr>
              <p:txBody>
                <a:bodyPr wrap="none" lIns="36000" tIns="10800" rIns="36000" bIns="10800" rtlCol="0" anchor="ctr"/>
                <a:lstStyle/>
                <a:p>
                  <a:pPr marL="185738" indent="-185738" algn="ctr">
                    <a:buClr>
                      <a:srgbClr val="969696"/>
                    </a:buClr>
                    <a:buSzPct val="80000"/>
                    <a:defRPr/>
                  </a:pPr>
                  <a:endParaRPr kumimoji="0" lang="en-US" sz="1400" dirty="0">
                    <a:solidFill>
                      <a:prstClr val="black"/>
                    </a:solidFill>
                    <a:latin typeface="Meiryo UI"/>
                    <a:ea typeface="Meiryo UI"/>
                  </a:endParaRPr>
                </a:p>
              </p:txBody>
            </p:sp>
            <p:sp>
              <p:nvSpPr>
                <p:cNvPr id="74" name="Chevron 295"/>
                <p:cNvSpPr/>
                <p:nvPr/>
              </p:nvSpPr>
              <p:spPr bwMode="auto">
                <a:xfrm>
                  <a:off x="9310114" y="4308062"/>
                  <a:ext cx="45719" cy="67292"/>
                </a:xfrm>
                <a:prstGeom prst="chevron">
                  <a:avLst>
                    <a:gd name="adj" fmla="val 60417"/>
                  </a:avLst>
                </a:prstGeom>
                <a:solidFill>
                  <a:srgbClr val="9A9A9A"/>
                </a:solidFill>
                <a:ln w="9525" algn="ctr">
                  <a:noFill/>
                  <a:miter lim="800000"/>
                  <a:headEnd/>
                  <a:tailEnd/>
                </a:ln>
                <a:extLst>
                  <a:ext uri="{91240B29-F687-4F45-9708-019B960494DF}">
                    <a14:hiddenLine xmlns:a14="http://schemas.microsoft.com/office/drawing/2010/main" w="9525" algn="ctr">
                      <a:solidFill>
                        <a:srgbClr val="E2E2E2"/>
                      </a:solidFill>
                      <a:miter lim="800000"/>
                      <a:headEnd/>
                      <a:tailEnd/>
                    </a14:hiddenLine>
                  </a:ext>
                </a:extLst>
              </p:spPr>
              <p:txBody>
                <a:bodyPr wrap="none" lIns="36000" tIns="10800" rIns="36000" bIns="10800" rtlCol="0" anchor="ctr"/>
                <a:lstStyle/>
                <a:p>
                  <a:pPr marL="185738" indent="-185738" algn="ctr">
                    <a:buClr>
                      <a:srgbClr val="969696"/>
                    </a:buClr>
                    <a:buSzPct val="80000"/>
                    <a:defRPr/>
                  </a:pPr>
                  <a:endParaRPr kumimoji="0" lang="en-US" sz="1400" dirty="0">
                    <a:solidFill>
                      <a:prstClr val="black"/>
                    </a:solidFill>
                    <a:latin typeface="Meiryo UI"/>
                    <a:ea typeface="Meiryo UI"/>
                  </a:endParaRPr>
                </a:p>
              </p:txBody>
            </p:sp>
            <p:sp>
              <p:nvSpPr>
                <p:cNvPr id="75" name="Chevron 296"/>
                <p:cNvSpPr/>
                <p:nvPr/>
              </p:nvSpPr>
              <p:spPr bwMode="auto">
                <a:xfrm>
                  <a:off x="9490914" y="4308062"/>
                  <a:ext cx="45719" cy="67292"/>
                </a:xfrm>
                <a:prstGeom prst="chevron">
                  <a:avLst>
                    <a:gd name="adj" fmla="val 60417"/>
                  </a:avLst>
                </a:prstGeom>
                <a:solidFill>
                  <a:srgbClr val="9A9A9A"/>
                </a:solidFill>
                <a:ln w="9525" algn="ctr">
                  <a:noFill/>
                  <a:miter lim="800000"/>
                  <a:headEnd/>
                  <a:tailEnd/>
                </a:ln>
                <a:extLst>
                  <a:ext uri="{91240B29-F687-4F45-9708-019B960494DF}">
                    <a14:hiddenLine xmlns:a14="http://schemas.microsoft.com/office/drawing/2010/main" w="9525" algn="ctr">
                      <a:solidFill>
                        <a:srgbClr val="E2E2E2"/>
                      </a:solidFill>
                      <a:miter lim="800000"/>
                      <a:headEnd/>
                      <a:tailEnd/>
                    </a14:hiddenLine>
                  </a:ext>
                </a:extLst>
              </p:spPr>
              <p:txBody>
                <a:bodyPr wrap="none" lIns="36000" tIns="10800" rIns="36000" bIns="10800" rtlCol="0" anchor="ctr"/>
                <a:lstStyle/>
                <a:p>
                  <a:pPr marL="185738" indent="-185738" algn="ctr">
                    <a:buClr>
                      <a:srgbClr val="969696"/>
                    </a:buClr>
                    <a:buSzPct val="80000"/>
                    <a:defRPr/>
                  </a:pPr>
                  <a:endParaRPr kumimoji="0" lang="en-US" sz="1400" dirty="0">
                    <a:solidFill>
                      <a:prstClr val="black"/>
                    </a:solidFill>
                    <a:latin typeface="Meiryo UI"/>
                    <a:ea typeface="Meiryo UI"/>
                  </a:endParaRPr>
                </a:p>
              </p:txBody>
            </p:sp>
            <p:pic>
              <p:nvPicPr>
                <p:cNvPr id="76" name="Picture 29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560249" y="4300537"/>
                  <a:ext cx="51757" cy="82341"/>
                </a:xfrm>
                <a:prstGeom prst="rect">
                  <a:avLst/>
                </a:prstGeom>
              </p:spPr>
            </p:pic>
          </p:grpSp>
          <p:sp>
            <p:nvSpPr>
              <p:cNvPr id="68" name="Rectangle 289"/>
              <p:cNvSpPr/>
              <p:nvPr/>
            </p:nvSpPr>
            <p:spPr bwMode="auto">
              <a:xfrm>
                <a:off x="8945023" y="2768693"/>
                <a:ext cx="551371" cy="75828"/>
              </a:xfrm>
              <a:prstGeom prst="rect">
                <a:avLst/>
              </a:prstGeom>
              <a:noFill/>
              <a:ln w="9525" algn="ctr">
                <a:noFill/>
                <a:miter lim="800000"/>
                <a:headEnd/>
                <a:tailEnd/>
              </a:ln>
              <a:extLst>
                <a:ext uri="{909E8E84-426E-40DD-AFC4-6F175D3DCCD1}">
                  <a14:hiddenFill xmlns:a14="http://schemas.microsoft.com/office/drawing/2010/main">
                    <a:solidFill>
                      <a:srgbClr val="6D2F9C"/>
                    </a:solidFill>
                  </a14:hiddenFill>
                </a:ext>
              </a:extLst>
            </p:spPr>
            <p:txBody>
              <a:bodyPr wrap="none" lIns="36000" tIns="10800" rIns="36000" bIns="10800" rtlCol="0" anchor="ctr"/>
              <a:lstStyle/>
              <a:p>
                <a:pPr marL="28575">
                  <a:buClr>
                    <a:srgbClr val="969696"/>
                  </a:buClr>
                  <a:buSzPct val="80000"/>
                  <a:defRPr/>
                </a:pPr>
                <a:r>
                  <a:rPr kumimoji="0" lang="ja-JP" altLang="en-US" sz="500" dirty="0">
                    <a:solidFill>
                      <a:srgbClr val="575757"/>
                    </a:solidFill>
                    <a:latin typeface="Trebuchet MS"/>
                    <a:ea typeface="Meiryo UI"/>
                  </a:rPr>
                  <a:t>乗換</a:t>
                </a:r>
                <a:r>
                  <a:rPr kumimoji="0" lang="en-US" altLang="ja-JP" sz="500" dirty="0">
                    <a:solidFill>
                      <a:srgbClr val="575757"/>
                    </a:solidFill>
                    <a:latin typeface="Trebuchet MS"/>
                    <a:ea typeface="Meiryo UI"/>
                  </a:rPr>
                  <a:t>1</a:t>
                </a:r>
                <a:r>
                  <a:rPr kumimoji="0" lang="ja-JP" altLang="en-US" sz="500" dirty="0">
                    <a:solidFill>
                      <a:srgbClr val="575757"/>
                    </a:solidFill>
                    <a:latin typeface="Trebuchet MS"/>
                    <a:ea typeface="Meiryo UI"/>
                  </a:rPr>
                  <a:t>回</a:t>
                </a:r>
                <a:endParaRPr kumimoji="0" lang="en-US" sz="500" dirty="0">
                  <a:solidFill>
                    <a:srgbClr val="575757"/>
                  </a:solidFill>
                  <a:latin typeface="Trebuchet MS"/>
                  <a:ea typeface="Meiryo UI"/>
                </a:endParaRPr>
              </a:p>
            </p:txBody>
          </p:sp>
          <p:sp>
            <p:nvSpPr>
              <p:cNvPr id="69" name="Rectangle 290"/>
              <p:cNvSpPr/>
              <p:nvPr/>
            </p:nvSpPr>
            <p:spPr bwMode="auto">
              <a:xfrm>
                <a:off x="9376170" y="2768693"/>
                <a:ext cx="305448" cy="75828"/>
              </a:xfrm>
              <a:prstGeom prst="rect">
                <a:avLst/>
              </a:prstGeom>
              <a:noFill/>
              <a:ln w="9525" algn="ctr">
                <a:noFill/>
                <a:miter lim="800000"/>
                <a:headEnd/>
                <a:tailEnd/>
              </a:ln>
              <a:extLst>
                <a:ext uri="{909E8E84-426E-40DD-AFC4-6F175D3DCCD1}">
                  <a14:hiddenFill xmlns:a14="http://schemas.microsoft.com/office/drawing/2010/main">
                    <a:solidFill>
                      <a:srgbClr val="6D2F9C"/>
                    </a:solidFill>
                  </a14:hiddenFill>
                </a:ext>
              </a:extLst>
            </p:spPr>
            <p:txBody>
              <a:bodyPr wrap="none" lIns="36000" tIns="10800" rIns="36000" bIns="10800" rtlCol="0" anchor="ctr"/>
              <a:lstStyle/>
              <a:p>
                <a:pPr marL="28575" algn="r">
                  <a:buClr>
                    <a:srgbClr val="969696"/>
                  </a:buClr>
                  <a:buSzPct val="80000"/>
                  <a:defRPr/>
                </a:pPr>
                <a:r>
                  <a:rPr kumimoji="0" lang="en-US" altLang="ja-JP" sz="500" dirty="0">
                    <a:solidFill>
                      <a:srgbClr val="575757"/>
                    </a:solidFill>
                    <a:latin typeface="Meiryo UI"/>
                    <a:ea typeface="Meiryo UI"/>
                  </a:rPr>
                  <a:t>\xxx</a:t>
                </a:r>
                <a:endParaRPr kumimoji="0" lang="en-US" sz="500" dirty="0">
                  <a:solidFill>
                    <a:srgbClr val="575757"/>
                  </a:solidFill>
                  <a:latin typeface="Meiryo UI"/>
                  <a:ea typeface="Meiryo UI"/>
                </a:endParaRPr>
              </a:p>
            </p:txBody>
          </p:sp>
        </p:grpSp>
        <p:sp>
          <p:nvSpPr>
            <p:cNvPr id="51" name="Rectangle 272"/>
            <p:cNvSpPr/>
            <p:nvPr/>
          </p:nvSpPr>
          <p:spPr bwMode="auto">
            <a:xfrm>
              <a:off x="9130724" y="3865922"/>
              <a:ext cx="279103" cy="71115"/>
            </a:xfrm>
            <a:prstGeom prst="rect">
              <a:avLst/>
            </a:prstGeom>
            <a:noFill/>
            <a:ln w="9525" algn="ctr">
              <a:noFill/>
              <a:miter lim="800000"/>
              <a:headEnd/>
              <a:tailEnd/>
            </a:ln>
            <a:extLst>
              <a:ext uri="{909E8E84-426E-40DD-AFC4-6F175D3DCCD1}">
                <a14:hiddenFill xmlns:a14="http://schemas.microsoft.com/office/drawing/2010/main">
                  <a:solidFill>
                    <a:srgbClr val="6D2F9C"/>
                  </a:solidFill>
                </a14:hiddenFill>
              </a:ext>
            </a:extLst>
          </p:spPr>
          <p:txBody>
            <a:bodyPr wrap="none" lIns="36000" tIns="10800" rIns="36000" bIns="10800" rtlCol="0" anchor="ctr"/>
            <a:lstStyle/>
            <a:p>
              <a:pPr marL="28575" algn="r">
                <a:buClr>
                  <a:srgbClr val="969696"/>
                </a:buClr>
                <a:buSzPct val="80000"/>
                <a:defRPr/>
              </a:pPr>
              <a:r>
                <a:rPr kumimoji="0" lang="en-US" altLang="ja-JP" sz="500" dirty="0">
                  <a:solidFill>
                    <a:srgbClr val="575757"/>
                  </a:solidFill>
                  <a:latin typeface="Meiryo UI"/>
                  <a:ea typeface="Meiryo UI"/>
                </a:rPr>
                <a:t>\xxx</a:t>
              </a:r>
            </a:p>
          </p:txBody>
        </p:sp>
        <p:grpSp>
          <p:nvGrpSpPr>
            <p:cNvPr id="52" name="Group 273"/>
            <p:cNvGrpSpPr/>
            <p:nvPr/>
          </p:nvGrpSpPr>
          <p:grpSpPr>
            <a:xfrm>
              <a:off x="8736760" y="2806275"/>
              <a:ext cx="673067" cy="360740"/>
              <a:chOff x="8945018" y="2867949"/>
              <a:chExt cx="736600" cy="394791"/>
            </a:xfrm>
          </p:grpSpPr>
          <p:sp>
            <p:nvSpPr>
              <p:cNvPr id="53" name="Rectangle 274"/>
              <p:cNvSpPr/>
              <p:nvPr/>
            </p:nvSpPr>
            <p:spPr bwMode="auto">
              <a:xfrm>
                <a:off x="8945018" y="2867949"/>
                <a:ext cx="736600" cy="394791"/>
              </a:xfrm>
              <a:prstGeom prst="rect">
                <a:avLst/>
              </a:prstGeom>
              <a:solidFill>
                <a:srgbClr val="FFFFFF"/>
              </a:solidFill>
              <a:ln w="9525" cap="flat" cmpd="sng" algn="ctr">
                <a:noFill/>
                <a:prstDash val="solid"/>
                <a:miter lim="800000"/>
                <a:headEnd type="none" w="med" len="med"/>
                <a:tailEnd type="none" w="med" len="med"/>
              </a:ln>
              <a:extLst>
                <a:ext uri="{91240B29-F687-4F45-9708-019B960494DF}">
                  <a14:hiddenLine xmlns:a14="http://schemas.microsoft.com/office/drawing/2010/main" w="9525" cap="flat" cmpd="sng" algn="ctr">
                    <a:solidFill>
                      <a:srgbClr val="9A9A9A"/>
                    </a:solidFill>
                    <a:prstDash val="solid"/>
                    <a:miter lim="800000"/>
                    <a:headEnd type="none" w="med" len="med"/>
                    <a:tailEnd type="none" w="med" len="med"/>
                  </a14:hiddenLine>
                </a:ext>
              </a:extLst>
            </p:spPr>
            <p:txBody>
              <a:bodyPr wrap="none" lIns="36000" tIns="10800" rIns="36000" bIns="10800" rtlCol="0" anchor="ctr"/>
              <a:lstStyle/>
              <a:p>
                <a:pPr marL="185738" indent="-185738" algn="ctr">
                  <a:buClr>
                    <a:srgbClr val="969696"/>
                  </a:buClr>
                  <a:buSzPct val="80000"/>
                  <a:defRPr/>
                </a:pPr>
                <a:endParaRPr kumimoji="0" lang="en-US" sz="1400" dirty="0">
                  <a:solidFill>
                    <a:prstClr val="black"/>
                  </a:solidFill>
                  <a:latin typeface="Meiryo UI"/>
                  <a:ea typeface="Meiryo UI"/>
                </a:endParaRPr>
              </a:p>
            </p:txBody>
          </p:sp>
          <p:sp>
            <p:nvSpPr>
              <p:cNvPr id="54" name="Rounded Rectangle 275"/>
              <p:cNvSpPr/>
              <p:nvPr/>
            </p:nvSpPr>
            <p:spPr bwMode="auto">
              <a:xfrm>
                <a:off x="9071920" y="2900042"/>
                <a:ext cx="574675" cy="75828"/>
              </a:xfrm>
              <a:prstGeom prst="roundRect">
                <a:avLst/>
              </a:prstGeom>
              <a:solidFill>
                <a:srgbClr val="29BA74"/>
              </a:solidFill>
              <a:ln w="9525" algn="ctr">
                <a:noFill/>
                <a:miter lim="800000"/>
                <a:headEnd/>
                <a:tailEnd/>
              </a:ln>
            </p:spPr>
            <p:txBody>
              <a:bodyPr wrap="square" lIns="36000" tIns="10800" rIns="36000" bIns="10800" rtlCol="0" anchor="ctr"/>
              <a:lstStyle/>
              <a:p>
                <a:pPr marL="28575">
                  <a:buClr>
                    <a:srgbClr val="969696"/>
                  </a:buClr>
                  <a:buSzPct val="80000"/>
                  <a:defRPr/>
                </a:pPr>
                <a:r>
                  <a:rPr kumimoji="0" lang="ja-JP" altLang="en-US" sz="500" dirty="0">
                    <a:solidFill>
                      <a:srgbClr val="FFFFFF"/>
                    </a:solidFill>
                    <a:latin typeface="Meiryo UI"/>
                    <a:ea typeface="Meiryo UI"/>
                  </a:rPr>
                  <a:t>タクシー</a:t>
                </a:r>
                <a:endParaRPr kumimoji="0" lang="en-US" sz="500" dirty="0">
                  <a:solidFill>
                    <a:srgbClr val="FFFFFF"/>
                  </a:solidFill>
                  <a:latin typeface="Meiryo UI"/>
                  <a:ea typeface="Meiryo UI"/>
                </a:endParaRPr>
              </a:p>
            </p:txBody>
          </p:sp>
          <p:sp>
            <p:nvSpPr>
              <p:cNvPr id="55" name="Oval 276"/>
              <p:cNvSpPr/>
              <p:nvPr/>
            </p:nvSpPr>
            <p:spPr bwMode="auto">
              <a:xfrm>
                <a:off x="8980043" y="2886873"/>
                <a:ext cx="140252" cy="140266"/>
              </a:xfrm>
              <a:prstGeom prst="ellipse">
                <a:avLst/>
              </a:prstGeom>
              <a:solidFill>
                <a:srgbClr val="29BA74"/>
              </a:solidFill>
              <a:ln w="9525" algn="ctr">
                <a:noFill/>
                <a:miter lim="800000"/>
                <a:headEnd/>
                <a:tailEnd/>
              </a:ln>
            </p:spPr>
            <p:txBody>
              <a:bodyPr wrap="none" lIns="36000" tIns="10800" rIns="36000" bIns="10800" rtlCol="0" anchor="ctr"/>
              <a:lstStyle/>
              <a:p>
                <a:pPr marL="185738" indent="-185738" algn="ctr">
                  <a:buClr>
                    <a:srgbClr val="969696"/>
                  </a:buClr>
                  <a:buSzPct val="80000"/>
                  <a:defRPr/>
                </a:pPr>
                <a:endParaRPr kumimoji="0" lang="en-US" sz="1400" dirty="0">
                  <a:solidFill>
                    <a:prstClr val="black"/>
                  </a:solidFill>
                  <a:latin typeface="Meiryo UI"/>
                  <a:ea typeface="Meiryo UI"/>
                </a:endParaRPr>
              </a:p>
            </p:txBody>
          </p:sp>
          <p:pic>
            <p:nvPicPr>
              <p:cNvPr id="56" name="Picture 277"/>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8994438" y="2921606"/>
                <a:ext cx="111462" cy="70802"/>
              </a:xfrm>
              <a:prstGeom prst="rect">
                <a:avLst/>
              </a:prstGeom>
            </p:spPr>
          </p:pic>
          <p:sp>
            <p:nvSpPr>
              <p:cNvPr id="57" name="Rectangle 278"/>
              <p:cNvSpPr/>
              <p:nvPr/>
            </p:nvSpPr>
            <p:spPr bwMode="auto">
              <a:xfrm>
                <a:off x="9071920" y="2975410"/>
                <a:ext cx="574675" cy="75828"/>
              </a:xfrm>
              <a:prstGeom prst="rect">
                <a:avLst/>
              </a:prstGeom>
              <a:noFill/>
              <a:ln w="9525" algn="ctr">
                <a:noFill/>
                <a:miter lim="800000"/>
                <a:headEnd/>
                <a:tailEnd/>
              </a:ln>
              <a:extLst>
                <a:ext uri="{909E8E84-426E-40DD-AFC4-6F175D3DCCD1}">
                  <a14:hiddenFill xmlns:a14="http://schemas.microsoft.com/office/drawing/2010/main">
                    <a:solidFill>
                      <a:srgbClr val="6D2F9C"/>
                    </a:solidFill>
                  </a14:hiddenFill>
                </a:ext>
              </a:extLst>
            </p:spPr>
            <p:txBody>
              <a:bodyPr wrap="none" lIns="36000" tIns="10800" rIns="36000" bIns="10800" rtlCol="0" anchor="ctr"/>
              <a:lstStyle/>
              <a:p>
                <a:pPr marL="28575">
                  <a:buClr>
                    <a:srgbClr val="969696"/>
                  </a:buClr>
                  <a:buSzPct val="80000"/>
                  <a:defRPr/>
                </a:pPr>
                <a:r>
                  <a:rPr kumimoji="0" lang="en-US" altLang="ja-JP" sz="600" dirty="0">
                    <a:solidFill>
                      <a:srgbClr val="575757"/>
                    </a:solidFill>
                    <a:latin typeface="Trebuchet MS"/>
                    <a:ea typeface="Meiryo UI"/>
                  </a:rPr>
                  <a:t>15:00-15:21</a:t>
                </a:r>
                <a:endParaRPr kumimoji="0" lang="en-US" sz="600" dirty="0">
                  <a:solidFill>
                    <a:srgbClr val="575757"/>
                  </a:solidFill>
                  <a:latin typeface="Trebuchet MS"/>
                  <a:ea typeface="Meiryo UI"/>
                </a:endParaRPr>
              </a:p>
            </p:txBody>
          </p:sp>
          <p:pic>
            <p:nvPicPr>
              <p:cNvPr id="58" name="Picture 27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003519" y="3080299"/>
                <a:ext cx="111462" cy="70802"/>
              </a:xfrm>
              <a:prstGeom prst="rect">
                <a:avLst/>
              </a:prstGeom>
            </p:spPr>
          </p:pic>
          <p:sp>
            <p:nvSpPr>
              <p:cNvPr id="59" name="Chevron 280"/>
              <p:cNvSpPr/>
              <p:nvPr/>
            </p:nvSpPr>
            <p:spPr bwMode="auto">
              <a:xfrm>
                <a:off x="9129690" y="3087824"/>
                <a:ext cx="45719" cy="67292"/>
              </a:xfrm>
              <a:prstGeom prst="chevron">
                <a:avLst>
                  <a:gd name="adj" fmla="val 60417"/>
                </a:avLst>
              </a:prstGeom>
              <a:solidFill>
                <a:srgbClr val="9A9A9A"/>
              </a:solidFill>
              <a:ln w="9525" algn="ctr">
                <a:noFill/>
                <a:miter lim="800000"/>
                <a:headEnd/>
                <a:tailEnd/>
              </a:ln>
              <a:extLst>
                <a:ext uri="{91240B29-F687-4F45-9708-019B960494DF}">
                  <a14:hiddenLine xmlns:a14="http://schemas.microsoft.com/office/drawing/2010/main" w="9525" algn="ctr">
                    <a:solidFill>
                      <a:srgbClr val="E2E2E2"/>
                    </a:solidFill>
                    <a:miter lim="800000"/>
                    <a:headEnd/>
                    <a:tailEnd/>
                  </a14:hiddenLine>
                </a:ext>
              </a:extLst>
            </p:spPr>
            <p:txBody>
              <a:bodyPr wrap="none" lIns="36000" tIns="10800" rIns="36000" bIns="10800" rtlCol="0" anchor="ctr"/>
              <a:lstStyle/>
              <a:p>
                <a:pPr marL="185738" indent="-185738" algn="ctr">
                  <a:buClr>
                    <a:srgbClr val="969696"/>
                  </a:buClr>
                  <a:buSzPct val="80000"/>
                  <a:defRPr/>
                </a:pPr>
                <a:endParaRPr kumimoji="0" lang="en-US" sz="1400" dirty="0">
                  <a:solidFill>
                    <a:prstClr val="black"/>
                  </a:solidFill>
                  <a:latin typeface="Meiryo UI"/>
                  <a:ea typeface="Meiryo UI"/>
                </a:endParaRPr>
              </a:p>
            </p:txBody>
          </p:sp>
          <p:sp>
            <p:nvSpPr>
              <p:cNvPr id="60" name="Rectangle 281"/>
              <p:cNvSpPr/>
              <p:nvPr/>
            </p:nvSpPr>
            <p:spPr bwMode="auto">
              <a:xfrm>
                <a:off x="8945023" y="3185542"/>
                <a:ext cx="551371" cy="75828"/>
              </a:xfrm>
              <a:prstGeom prst="rect">
                <a:avLst/>
              </a:prstGeom>
              <a:noFill/>
              <a:ln w="9525" algn="ctr">
                <a:noFill/>
                <a:miter lim="800000"/>
                <a:headEnd/>
                <a:tailEnd/>
              </a:ln>
              <a:extLst>
                <a:ext uri="{909E8E84-426E-40DD-AFC4-6F175D3DCCD1}">
                  <a14:hiddenFill xmlns:a14="http://schemas.microsoft.com/office/drawing/2010/main">
                    <a:solidFill>
                      <a:srgbClr val="6D2F9C"/>
                    </a:solidFill>
                  </a14:hiddenFill>
                </a:ext>
              </a:extLst>
            </p:spPr>
            <p:txBody>
              <a:bodyPr wrap="none" lIns="36000" tIns="10800" rIns="36000" bIns="10800" rtlCol="0" anchor="ctr"/>
              <a:lstStyle/>
              <a:p>
                <a:pPr marL="28575">
                  <a:buClr>
                    <a:srgbClr val="969696"/>
                  </a:buClr>
                  <a:buSzPct val="80000"/>
                  <a:defRPr/>
                </a:pPr>
                <a:r>
                  <a:rPr kumimoji="0" lang="ja-JP" altLang="en-US" sz="500" dirty="0">
                    <a:solidFill>
                      <a:srgbClr val="575757"/>
                    </a:solidFill>
                    <a:latin typeface="Trebuchet MS"/>
                    <a:ea typeface="Meiryo UI"/>
                  </a:rPr>
                  <a:t>乗換なし</a:t>
                </a:r>
                <a:endParaRPr kumimoji="0" lang="en-US" sz="500" dirty="0">
                  <a:solidFill>
                    <a:srgbClr val="575757"/>
                  </a:solidFill>
                  <a:latin typeface="Trebuchet MS"/>
                  <a:ea typeface="Meiryo UI"/>
                </a:endParaRPr>
              </a:p>
            </p:txBody>
          </p:sp>
          <p:pic>
            <p:nvPicPr>
              <p:cNvPr id="61" name="Picture 28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197706" y="3077181"/>
                <a:ext cx="51757" cy="82341"/>
              </a:xfrm>
              <a:prstGeom prst="rect">
                <a:avLst/>
              </a:prstGeom>
            </p:spPr>
          </p:pic>
          <p:sp>
            <p:nvSpPr>
              <p:cNvPr id="62" name="Rectangle 283"/>
              <p:cNvSpPr/>
              <p:nvPr/>
            </p:nvSpPr>
            <p:spPr bwMode="auto">
              <a:xfrm>
                <a:off x="9376170" y="3185542"/>
                <a:ext cx="305448" cy="75828"/>
              </a:xfrm>
              <a:prstGeom prst="rect">
                <a:avLst/>
              </a:prstGeom>
              <a:noFill/>
              <a:ln w="9525" algn="ctr">
                <a:noFill/>
                <a:miter lim="800000"/>
                <a:headEnd/>
                <a:tailEnd/>
              </a:ln>
              <a:extLst>
                <a:ext uri="{909E8E84-426E-40DD-AFC4-6F175D3DCCD1}">
                  <a14:hiddenFill xmlns:a14="http://schemas.microsoft.com/office/drawing/2010/main">
                    <a:solidFill>
                      <a:srgbClr val="6D2F9C"/>
                    </a:solidFill>
                  </a14:hiddenFill>
                </a:ext>
              </a:extLst>
            </p:spPr>
            <p:txBody>
              <a:bodyPr wrap="none" lIns="36000" tIns="10800" rIns="36000" bIns="10800" rtlCol="0" anchor="ctr"/>
              <a:lstStyle/>
              <a:p>
                <a:pPr marL="28575" algn="r">
                  <a:buClr>
                    <a:srgbClr val="969696"/>
                  </a:buClr>
                  <a:buSzPct val="80000"/>
                  <a:defRPr/>
                </a:pPr>
                <a:r>
                  <a:rPr kumimoji="0" lang="en-US" altLang="ja-JP" sz="500" dirty="0">
                    <a:solidFill>
                      <a:srgbClr val="575757"/>
                    </a:solidFill>
                    <a:latin typeface="Meiryo UI"/>
                    <a:ea typeface="Meiryo UI"/>
                  </a:rPr>
                  <a:t>\xxx</a:t>
                </a:r>
              </a:p>
            </p:txBody>
          </p:sp>
        </p:grpSp>
      </p:grpSp>
      <p:sp>
        <p:nvSpPr>
          <p:cNvPr id="16385" name="タイトル 16384"/>
          <p:cNvSpPr>
            <a:spLocks noGrp="1"/>
          </p:cNvSpPr>
          <p:nvPr>
            <p:ph type="ctrTitle"/>
          </p:nvPr>
        </p:nvSpPr>
        <p:spPr/>
        <p:txBody>
          <a:bodyPr/>
          <a:lstStyle/>
          <a:p>
            <a:r>
              <a:rPr lang="en-US" altLang="ja-JP" dirty="0">
                <a:latin typeface="Meiryo UI" panose="020B0604030504040204" pitchFamily="50" charset="-128"/>
              </a:rPr>
              <a:t>1-3</a:t>
            </a:r>
            <a:r>
              <a:rPr lang="ja-JP" altLang="en-US" dirty="0">
                <a:latin typeface="Meiryo UI" panose="020B0604030504040204" pitchFamily="50" charset="-128"/>
              </a:rPr>
              <a:t>　現状と</a:t>
            </a:r>
            <a:r>
              <a:rPr lang="ja-JP" altLang="en-US" dirty="0" smtClean="0">
                <a:latin typeface="Meiryo UI" panose="020B0604030504040204" pitchFamily="50" charset="-128"/>
              </a:rPr>
              <a:t>目指す姿</a:t>
            </a:r>
            <a:r>
              <a:rPr lang="ja-JP" altLang="en-US" dirty="0">
                <a:latin typeface="Meiryo UI" panose="020B0604030504040204" pitchFamily="50" charset="-128"/>
              </a:rPr>
              <a:t>　　～</a:t>
            </a:r>
            <a:r>
              <a:rPr lang="ja-JP" altLang="en-US" dirty="0" smtClean="0">
                <a:latin typeface="Meiryo UI" panose="020B0604030504040204" pitchFamily="50" charset="-128"/>
              </a:rPr>
              <a:t>目指す姿</a:t>
            </a:r>
            <a:endParaRPr kumimoji="1" lang="ja-JP" altLang="en-US" dirty="0"/>
          </a:p>
        </p:txBody>
      </p:sp>
      <p:sp>
        <p:nvSpPr>
          <p:cNvPr id="16387" name="サブタイトル 16386"/>
          <p:cNvSpPr>
            <a:spLocks noGrp="1"/>
          </p:cNvSpPr>
          <p:nvPr>
            <p:ph type="subTitle" idx="1"/>
          </p:nvPr>
        </p:nvSpPr>
        <p:spPr/>
        <p:txBody>
          <a:bodyPr/>
          <a:lstStyle/>
          <a:p>
            <a:r>
              <a:rPr lang="ja-JP" altLang="en-US" dirty="0">
                <a:latin typeface="Meiryo UI" panose="020B0604030504040204" pitchFamily="50" charset="-128"/>
              </a:rPr>
              <a:t>減少する沿線人口やデジタル化による需要減少に対して</a:t>
            </a:r>
            <a:r>
              <a:rPr lang="ja-JP" altLang="en-US" dirty="0" smtClean="0">
                <a:latin typeface="Meiryo UI" panose="020B0604030504040204" pitchFamily="50" charset="-128"/>
              </a:rPr>
              <a:t>、</a:t>
            </a:r>
            <a:r>
              <a:rPr lang="en-US" altLang="ja-JP" dirty="0" smtClean="0">
                <a:latin typeface="Meiryo UI" panose="020B0604030504040204" pitchFamily="50" charset="-128"/>
              </a:rPr>
              <a:t/>
            </a:r>
            <a:br>
              <a:rPr lang="en-US" altLang="ja-JP" dirty="0" smtClean="0">
                <a:latin typeface="Meiryo UI" panose="020B0604030504040204" pitchFamily="50" charset="-128"/>
              </a:rPr>
            </a:br>
            <a:r>
              <a:rPr lang="ja-JP" altLang="en-US" dirty="0" smtClean="0">
                <a:latin typeface="Meiryo UI" panose="020B0604030504040204" pitchFamily="50" charset="-128"/>
              </a:rPr>
              <a:t>生き残り</a:t>
            </a:r>
            <a:r>
              <a:rPr lang="ja-JP" altLang="en-US" dirty="0">
                <a:latin typeface="Meiryo UI" panose="020B0604030504040204" pitchFamily="50" charset="-128"/>
              </a:rPr>
              <a:t>をかけて沿線の魅力を維持・向上させ、</a:t>
            </a:r>
            <a:r>
              <a:rPr lang="en-US" altLang="ja-JP" dirty="0">
                <a:latin typeface="Meiryo UI" panose="020B0604030504040204" pitchFamily="50" charset="-128"/>
              </a:rPr>
              <a:t>ICT</a:t>
            </a:r>
            <a:r>
              <a:rPr lang="ja-JP" altLang="en-US" dirty="0">
                <a:latin typeface="Meiryo UI" panose="020B0604030504040204" pitchFamily="50" charset="-128"/>
              </a:rPr>
              <a:t>サービス等の充実を図っていく必要がある</a:t>
            </a:r>
            <a:r>
              <a:rPr lang="ja-JP" altLang="en-US" dirty="0" smtClean="0">
                <a:latin typeface="Meiryo UI" panose="020B0604030504040204" pitchFamily="50" charset="-128"/>
              </a:rPr>
              <a:t>。</a:t>
            </a:r>
            <a:endParaRPr lang="ja-JP" altLang="en-US" dirty="0">
              <a:latin typeface="Meiryo UI" panose="020B0604030504040204" pitchFamily="50" charset="-128"/>
            </a:endParaRPr>
          </a:p>
        </p:txBody>
      </p:sp>
      <p:sp>
        <p:nvSpPr>
          <p:cNvPr id="99" name="平行四辺形 98"/>
          <p:cNvSpPr/>
          <p:nvPr/>
        </p:nvSpPr>
        <p:spPr>
          <a:xfrm>
            <a:off x="6488681" y="3827312"/>
            <a:ext cx="2648774" cy="701682"/>
          </a:xfrm>
          <a:prstGeom prst="parallelogram">
            <a:avLst>
              <a:gd name="adj" fmla="val 98050"/>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sz="2000" b="1" dirty="0" smtClean="0">
              <a:solidFill>
                <a:schemeClr val="tx1"/>
              </a:solidFill>
            </a:endParaRPr>
          </a:p>
        </p:txBody>
      </p:sp>
      <p:sp>
        <p:nvSpPr>
          <p:cNvPr id="100" name="平行四辺形 99"/>
          <p:cNvSpPr/>
          <p:nvPr/>
        </p:nvSpPr>
        <p:spPr>
          <a:xfrm>
            <a:off x="6488681" y="2947219"/>
            <a:ext cx="2648774" cy="466770"/>
          </a:xfrm>
          <a:prstGeom prst="parallelogram">
            <a:avLst>
              <a:gd name="adj" fmla="val 143298"/>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sz="2000" b="1" dirty="0" smtClean="0">
              <a:solidFill>
                <a:schemeClr val="tx1"/>
              </a:solidFill>
            </a:endParaRPr>
          </a:p>
        </p:txBody>
      </p:sp>
      <p:sp>
        <p:nvSpPr>
          <p:cNvPr id="84" name="平行四辺形 83"/>
          <p:cNvSpPr/>
          <p:nvPr/>
        </p:nvSpPr>
        <p:spPr>
          <a:xfrm>
            <a:off x="6488681" y="2892030"/>
            <a:ext cx="2648774" cy="466770"/>
          </a:xfrm>
          <a:prstGeom prst="parallelogram">
            <a:avLst>
              <a:gd name="adj" fmla="val 143298"/>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sz="2000" b="1" dirty="0" smtClean="0">
              <a:solidFill>
                <a:schemeClr val="tx1"/>
              </a:solidFill>
            </a:endParaRPr>
          </a:p>
        </p:txBody>
      </p:sp>
      <p:sp>
        <p:nvSpPr>
          <p:cNvPr id="19" name="テキスト ボックス 18"/>
          <p:cNvSpPr txBox="1"/>
          <p:nvPr/>
        </p:nvSpPr>
        <p:spPr>
          <a:xfrm>
            <a:off x="6864493" y="2642960"/>
            <a:ext cx="1771639" cy="646331"/>
          </a:xfrm>
          <a:prstGeom prst="rect">
            <a:avLst/>
          </a:prstGeom>
          <a:noFill/>
        </p:spPr>
        <p:txBody>
          <a:bodyPr wrap="none" rtlCol="0">
            <a:spAutoFit/>
          </a:bodyPr>
          <a:lstStyle/>
          <a:p>
            <a:r>
              <a:rPr kumimoji="1" lang="ja-JP" altLang="en-US" dirty="0" smtClean="0">
                <a:effectLst>
                  <a:glow rad="101600">
                    <a:schemeClr val="bg1"/>
                  </a:glow>
                </a:effectLst>
                <a:latin typeface="Meiryo UI" panose="020B0604030504040204" pitchFamily="50" charset="-128"/>
                <a:ea typeface="Meiryo UI" panose="020B0604030504040204" pitchFamily="50" charset="-128"/>
              </a:rPr>
              <a:t>データシミュレート</a:t>
            </a:r>
            <a:endParaRPr kumimoji="1" lang="en-US" altLang="ja-JP" dirty="0" smtClean="0">
              <a:effectLst>
                <a:glow rad="101600">
                  <a:schemeClr val="bg1"/>
                </a:glow>
              </a:effectLst>
              <a:latin typeface="Meiryo UI" panose="020B0604030504040204" pitchFamily="50" charset="-128"/>
              <a:ea typeface="Meiryo UI" panose="020B0604030504040204" pitchFamily="50" charset="-128"/>
            </a:endParaRPr>
          </a:p>
          <a:p>
            <a:pPr algn="ctr"/>
            <a:r>
              <a:rPr lang="en-US" altLang="ja-JP" dirty="0" smtClean="0">
                <a:effectLst>
                  <a:glow rad="101600">
                    <a:schemeClr val="bg1"/>
                  </a:glow>
                </a:effectLst>
                <a:latin typeface="Meiryo UI" panose="020B0604030504040204" pitchFamily="50" charset="-128"/>
                <a:ea typeface="Meiryo UI" panose="020B0604030504040204" pitchFamily="50" charset="-128"/>
              </a:rPr>
              <a:t>AI</a:t>
            </a:r>
            <a:r>
              <a:rPr lang="ja-JP" altLang="en-US" dirty="0" smtClean="0">
                <a:effectLst>
                  <a:glow rad="101600">
                    <a:schemeClr val="bg1"/>
                  </a:glow>
                </a:effectLst>
                <a:latin typeface="Meiryo UI" panose="020B0604030504040204" pitchFamily="50" charset="-128"/>
                <a:ea typeface="Meiryo UI" panose="020B0604030504040204" pitchFamily="50" charset="-128"/>
              </a:rPr>
              <a:t>による解析</a:t>
            </a:r>
            <a:endParaRPr kumimoji="1" lang="ja-JP" altLang="en-US" dirty="0">
              <a:effectLst>
                <a:glow rad="101600">
                  <a:schemeClr val="bg1"/>
                </a:glow>
              </a:effectLst>
              <a:latin typeface="Meiryo UI" panose="020B0604030504040204" pitchFamily="50" charset="-128"/>
              <a:ea typeface="Meiryo UI" panose="020B0604030504040204" pitchFamily="50" charset="-128"/>
            </a:endParaRPr>
          </a:p>
        </p:txBody>
      </p:sp>
      <p:sp>
        <p:nvSpPr>
          <p:cNvPr id="101" name="平行四辺形 100"/>
          <p:cNvSpPr/>
          <p:nvPr/>
        </p:nvSpPr>
        <p:spPr>
          <a:xfrm>
            <a:off x="6488681" y="3770386"/>
            <a:ext cx="2648774" cy="701682"/>
          </a:xfrm>
          <a:prstGeom prst="parallelogram">
            <a:avLst>
              <a:gd name="adj" fmla="val 98050"/>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tLang="ja-JP" sz="2000" b="1" dirty="0" smtClean="0">
              <a:solidFill>
                <a:schemeClr val="tx1"/>
              </a:solidFill>
            </a:endParaRPr>
          </a:p>
        </p:txBody>
      </p:sp>
      <p:sp>
        <p:nvSpPr>
          <p:cNvPr id="16390" name="二等辺三角形 16389"/>
          <p:cNvSpPr/>
          <p:nvPr/>
        </p:nvSpPr>
        <p:spPr>
          <a:xfrm rot="10800000">
            <a:off x="8547032" y="2446511"/>
            <a:ext cx="158905" cy="579243"/>
          </a:xfrm>
          <a:prstGeom prst="triangle">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3" name="角丸四角形 102"/>
          <p:cNvSpPr/>
          <p:nvPr/>
        </p:nvSpPr>
        <p:spPr>
          <a:xfrm>
            <a:off x="7086601" y="3540642"/>
            <a:ext cx="1574800" cy="364463"/>
          </a:xfrm>
          <a:prstGeom prst="round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a:solidFill>
                  <a:schemeClr val="bg1"/>
                </a:solidFill>
                <a:latin typeface="Meiryo UI" panose="020B0604030504040204" pitchFamily="50" charset="-128"/>
                <a:ea typeface="Meiryo UI" panose="020B0604030504040204" pitchFamily="50" charset="-128"/>
              </a:rPr>
              <a:t>フィジカル空間</a:t>
            </a:r>
          </a:p>
        </p:txBody>
      </p:sp>
      <p:sp>
        <p:nvSpPr>
          <p:cNvPr id="104" name="二等辺三角形 103"/>
          <p:cNvSpPr/>
          <p:nvPr/>
        </p:nvSpPr>
        <p:spPr>
          <a:xfrm rot="10800000">
            <a:off x="7513600" y="3872624"/>
            <a:ext cx="134500" cy="439962"/>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右カーブ矢印 7"/>
          <p:cNvSpPr/>
          <p:nvPr/>
        </p:nvSpPr>
        <p:spPr>
          <a:xfrm flipH="1">
            <a:off x="8480544" y="3027805"/>
            <a:ext cx="437336" cy="1212740"/>
          </a:xfrm>
          <a:prstGeom prst="curvedRightArrow">
            <a:avLst/>
          </a:prstGeom>
          <a:solidFill>
            <a:schemeClr val="tx1">
              <a:alpha val="4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85" name="右カーブ矢印 84"/>
          <p:cNvSpPr/>
          <p:nvPr/>
        </p:nvSpPr>
        <p:spPr>
          <a:xfrm rot="10800000" flipH="1">
            <a:off x="6600535" y="3016116"/>
            <a:ext cx="475735" cy="1195966"/>
          </a:xfrm>
          <a:prstGeom prst="curvedRightArrow">
            <a:avLst/>
          </a:prstGeom>
          <a:solidFill>
            <a:schemeClr val="tx1">
              <a:alpha val="4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86" name="角丸四角形 85"/>
          <p:cNvSpPr/>
          <p:nvPr/>
        </p:nvSpPr>
        <p:spPr>
          <a:xfrm>
            <a:off x="7580849" y="2220801"/>
            <a:ext cx="1266766" cy="364463"/>
          </a:xfrm>
          <a:prstGeom prst="round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b="1" dirty="0" smtClean="0">
                <a:solidFill>
                  <a:schemeClr val="bg1"/>
                </a:solidFill>
                <a:latin typeface="Meiryo UI" panose="020B0604030504040204" pitchFamily="50" charset="-128"/>
                <a:ea typeface="Meiryo UI" panose="020B0604030504040204" pitchFamily="50" charset="-128"/>
              </a:rPr>
              <a:t>仮想</a:t>
            </a:r>
            <a:r>
              <a:rPr lang="ja-JP" altLang="en-US" b="1" dirty="0">
                <a:solidFill>
                  <a:schemeClr val="bg1"/>
                </a:solidFill>
                <a:latin typeface="Meiryo UI" panose="020B0604030504040204" pitchFamily="50" charset="-128"/>
                <a:ea typeface="Meiryo UI" panose="020B0604030504040204" pitchFamily="50" charset="-128"/>
              </a:rPr>
              <a:t>現実</a:t>
            </a:r>
            <a:endParaRPr kumimoji="1" lang="ja-JP" altLang="en-US" b="1" dirty="0">
              <a:solidFill>
                <a:schemeClr val="bg1"/>
              </a:solidFill>
              <a:latin typeface="Meiryo UI" panose="020B0604030504040204" pitchFamily="50" charset="-128"/>
              <a:ea typeface="Meiryo UI" panose="020B0604030504040204" pitchFamily="50" charset="-128"/>
            </a:endParaRPr>
          </a:p>
        </p:txBody>
      </p:sp>
      <p:sp>
        <p:nvSpPr>
          <p:cNvPr id="92" name="角丸四角形 91"/>
          <p:cNvSpPr/>
          <p:nvPr/>
        </p:nvSpPr>
        <p:spPr>
          <a:xfrm>
            <a:off x="2018874" y="6062583"/>
            <a:ext cx="8163770" cy="585501"/>
          </a:xfrm>
          <a:prstGeom prst="roundRect">
            <a:avLst>
              <a:gd name="adj" fmla="val 50000"/>
            </a:avLst>
          </a:prstGeom>
          <a:solidFill>
            <a:srgbClr val="F273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3300" b="1" dirty="0" smtClean="0">
                <a:solidFill>
                  <a:schemeClr val="bg1"/>
                </a:solidFill>
                <a:latin typeface="Meiryo UI" panose="020B0604030504040204" pitchFamily="50" charset="-128"/>
                <a:ea typeface="Meiryo UI" panose="020B0604030504040204" pitchFamily="50" charset="-128"/>
              </a:rPr>
              <a:t>健康的に歩くことが出来るまちづくりの実現</a:t>
            </a:r>
            <a:endParaRPr kumimoji="1" lang="ja-JP" altLang="en-US" sz="3300" b="1" dirty="0">
              <a:solidFill>
                <a:schemeClr val="bg1"/>
              </a:solidFill>
              <a:latin typeface="Meiryo UI" panose="020B0604030504040204" pitchFamily="50" charset="-128"/>
              <a:ea typeface="Meiryo UI" panose="020B0604030504040204" pitchFamily="50" charset="-128"/>
            </a:endParaRPr>
          </a:p>
        </p:txBody>
      </p:sp>
      <p:pic>
        <p:nvPicPr>
          <p:cNvPr id="2" name="図 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516570" y="3040846"/>
            <a:ext cx="1089559" cy="1137250"/>
          </a:xfrm>
          <a:prstGeom prst="rect">
            <a:avLst/>
          </a:prstGeom>
        </p:spPr>
      </p:pic>
      <p:sp>
        <p:nvSpPr>
          <p:cNvPr id="15" name="Oval 289"/>
          <p:cNvSpPr/>
          <p:nvPr/>
        </p:nvSpPr>
        <p:spPr>
          <a:xfrm flipH="1">
            <a:off x="4538059" y="2197949"/>
            <a:ext cx="1043702" cy="822472"/>
          </a:xfrm>
          <a:prstGeom prst="roundRect">
            <a:avLst>
              <a:gd name="adj" fmla="val 8347"/>
            </a:avLst>
          </a:prstGeom>
          <a:solidFill>
            <a:schemeClr val="bg1"/>
          </a:solidFill>
          <a:ln w="28575">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pitchFamily="34" charset="0"/>
            </a:endParaRPr>
          </a:p>
        </p:txBody>
      </p:sp>
      <p:sp>
        <p:nvSpPr>
          <p:cNvPr id="14" name="Isosceles Triangle 288"/>
          <p:cNvSpPr/>
          <p:nvPr/>
        </p:nvSpPr>
        <p:spPr bwMode="black">
          <a:xfrm rot="10800000">
            <a:off x="4691854" y="3020420"/>
            <a:ext cx="143245" cy="413913"/>
          </a:xfrm>
          <a:prstGeom prst="triangle">
            <a:avLst>
              <a:gd name="adj" fmla="val 53057"/>
            </a:avLst>
          </a:prstGeom>
          <a:solidFill>
            <a:srgbClr val="FFC000"/>
          </a:solidFill>
          <a:ln w="9525">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pitchFamily="34" charset="0"/>
            </a:endParaRPr>
          </a:p>
        </p:txBody>
      </p:sp>
      <p:pic>
        <p:nvPicPr>
          <p:cNvPr id="4" name="図 3"/>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576985" y="2226534"/>
            <a:ext cx="963700" cy="761018"/>
          </a:xfrm>
          <a:prstGeom prst="rect">
            <a:avLst/>
          </a:prstGeom>
        </p:spPr>
      </p:pic>
    </p:spTree>
    <p:extLst>
      <p:ext uri="{BB962C8B-B14F-4D97-AF65-F5344CB8AC3E}">
        <p14:creationId xmlns:p14="http://schemas.microsoft.com/office/powerpoint/2010/main" val="329545022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 name="楕円 63"/>
          <p:cNvSpPr/>
          <p:nvPr/>
        </p:nvSpPr>
        <p:spPr>
          <a:xfrm>
            <a:off x="666756" y="2008982"/>
            <a:ext cx="6203944" cy="4084407"/>
          </a:xfrm>
          <a:prstGeom prst="roundRect">
            <a:avLst>
              <a:gd name="adj" fmla="val 6770"/>
            </a:avLst>
          </a:prstGeom>
          <a:solidFill>
            <a:schemeClr val="accent6">
              <a:lumMod val="60000"/>
              <a:lumOff val="40000"/>
            </a:schemeClr>
          </a:solidFill>
          <a:ln>
            <a:noFill/>
          </a:ln>
          <a:effectLst>
            <a:glow rad="63500">
              <a:schemeClr val="bg1">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ja-JP" altLang="en-US" dirty="0">
              <a:latin typeface="Meiryo UI" panose="020B0604030504040204" pitchFamily="50" charset="-128"/>
              <a:ea typeface="Meiryo UI" panose="020B0604030504040204" pitchFamily="50" charset="-128"/>
            </a:endParaRPr>
          </a:p>
        </p:txBody>
      </p:sp>
      <p:sp>
        <p:nvSpPr>
          <p:cNvPr id="96" name="円/楕円 95"/>
          <p:cNvSpPr/>
          <p:nvPr/>
        </p:nvSpPr>
        <p:spPr bwMode="ltGray">
          <a:xfrm>
            <a:off x="4083424" y="2170013"/>
            <a:ext cx="2596776" cy="2218154"/>
          </a:xfrm>
          <a:prstGeom prst="ellipse">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円/楕円 2"/>
          <p:cNvSpPr/>
          <p:nvPr/>
        </p:nvSpPr>
        <p:spPr bwMode="ltGray">
          <a:xfrm>
            <a:off x="918461" y="2171700"/>
            <a:ext cx="3618606" cy="2498192"/>
          </a:xfrm>
          <a:prstGeom prst="ellipse">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1" name="円/楕円 130"/>
          <p:cNvSpPr/>
          <p:nvPr/>
        </p:nvSpPr>
        <p:spPr bwMode="ltGray">
          <a:xfrm>
            <a:off x="3616124" y="3828733"/>
            <a:ext cx="3045329" cy="2094752"/>
          </a:xfrm>
          <a:prstGeom prst="ellipse">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2" name="円/楕円 131"/>
          <p:cNvSpPr/>
          <p:nvPr/>
        </p:nvSpPr>
        <p:spPr bwMode="ltGray">
          <a:xfrm>
            <a:off x="937511" y="3828733"/>
            <a:ext cx="2918777" cy="2098242"/>
          </a:xfrm>
          <a:prstGeom prst="ellipse">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タイトル 1"/>
          <p:cNvSpPr>
            <a:spLocks noGrp="1"/>
          </p:cNvSpPr>
          <p:nvPr>
            <p:ph type="ctrTitle"/>
          </p:nvPr>
        </p:nvSpPr>
        <p:spPr/>
        <p:txBody>
          <a:bodyPr>
            <a:normAutofit/>
          </a:bodyPr>
          <a:lstStyle/>
          <a:p>
            <a:r>
              <a:rPr kumimoji="1" lang="en-US" altLang="ja-JP" sz="2400" dirty="0" smtClean="0">
                <a:latin typeface="Meiryo UI" panose="020B0604030504040204" pitchFamily="50" charset="-128"/>
                <a:ea typeface="Meiryo UI" panose="020B0604030504040204" pitchFamily="50" charset="-128"/>
              </a:rPr>
              <a:t>2-1</a:t>
            </a:r>
            <a:r>
              <a:rPr kumimoji="1" lang="ja-JP" altLang="en-US" sz="2400" dirty="0" smtClean="0">
                <a:latin typeface="Meiryo UI" panose="020B0604030504040204" pitchFamily="50" charset="-128"/>
                <a:ea typeface="Meiryo UI" panose="020B0604030504040204" pitchFamily="50" charset="-128"/>
              </a:rPr>
              <a:t>　</a:t>
            </a:r>
            <a:r>
              <a:rPr kumimoji="1" lang="en-US" altLang="ja-JP" sz="2400" dirty="0" err="1" smtClean="0">
                <a:latin typeface="Meiryo UI" panose="020B0604030504040204" pitchFamily="50" charset="-128"/>
                <a:ea typeface="Meiryo UI" panose="020B0604030504040204" pitchFamily="50" charset="-128"/>
              </a:rPr>
              <a:t>MaaS</a:t>
            </a:r>
            <a:r>
              <a:rPr kumimoji="1" lang="ja-JP" altLang="en-US" sz="2400" dirty="0" smtClean="0">
                <a:latin typeface="Meiryo UI" panose="020B0604030504040204" pitchFamily="50" charset="-128"/>
                <a:ea typeface="Meiryo UI" panose="020B0604030504040204" pitchFamily="50" charset="-128"/>
              </a:rPr>
              <a:t>とは・・・</a:t>
            </a:r>
            <a:r>
              <a:rPr kumimoji="1" lang="en-US" altLang="ja-JP" sz="2400" dirty="0" smtClean="0">
                <a:latin typeface="Meiryo UI" panose="020B0604030504040204" pitchFamily="50" charset="-128"/>
                <a:ea typeface="Meiryo UI" panose="020B0604030504040204" pitchFamily="50" charset="-128"/>
              </a:rPr>
              <a:t>Mobility as a Service</a:t>
            </a:r>
            <a:endParaRPr kumimoji="1" lang="ja-JP" altLang="en-US" sz="2400" dirty="0">
              <a:latin typeface="Meiryo UI" panose="020B0604030504040204" pitchFamily="50" charset="-128"/>
              <a:ea typeface="Meiryo UI" panose="020B0604030504040204" pitchFamily="50" charset="-128"/>
            </a:endParaRPr>
          </a:p>
        </p:txBody>
      </p:sp>
      <p:sp>
        <p:nvSpPr>
          <p:cNvPr id="64" name="楕円 63"/>
          <p:cNvSpPr/>
          <p:nvPr/>
        </p:nvSpPr>
        <p:spPr>
          <a:xfrm>
            <a:off x="7550201" y="2008982"/>
            <a:ext cx="4009973" cy="4084407"/>
          </a:xfrm>
          <a:prstGeom prst="roundRect">
            <a:avLst>
              <a:gd name="adj" fmla="val 6770"/>
            </a:avLst>
          </a:prstGeom>
          <a:solidFill>
            <a:srgbClr val="4D4DBF"/>
          </a:solidFill>
          <a:ln>
            <a:noFill/>
          </a:ln>
          <a:effectLst>
            <a:glow rad="63500">
              <a:schemeClr val="bg1">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algn="ctr"/>
            <a:r>
              <a:rPr kumimoji="1" lang="en-US" altLang="ja-JP" sz="4000" b="1" dirty="0" smtClean="0">
                <a:solidFill>
                  <a:schemeClr val="accent4"/>
                </a:solidFill>
                <a:effectLst/>
                <a:latin typeface="Meiryo UI" panose="020B0604030504040204" pitchFamily="50" charset="-128"/>
                <a:ea typeface="Meiryo UI" panose="020B0604030504040204" pitchFamily="50" charset="-128"/>
              </a:rPr>
              <a:t>MaaS</a:t>
            </a:r>
            <a:endParaRPr lang="en-US" altLang="ja-JP" sz="4000" b="1" dirty="0">
              <a:solidFill>
                <a:schemeClr val="accent4"/>
              </a:solidFill>
              <a:effectLst/>
              <a:latin typeface="Meiryo UI" panose="020B0604030504040204" pitchFamily="50" charset="-128"/>
              <a:ea typeface="Meiryo UI" panose="020B0604030504040204" pitchFamily="50" charset="-128"/>
            </a:endParaRPr>
          </a:p>
          <a:p>
            <a:pPr algn="ctr"/>
            <a:endParaRPr kumimoji="1" lang="en-US" altLang="ja-JP" sz="1600" b="1" dirty="0" smtClean="0">
              <a:ln>
                <a:solidFill>
                  <a:srgbClr val="39F52B"/>
                </a:solidFill>
              </a:ln>
              <a:solidFill>
                <a:srgbClr val="FFFF00"/>
              </a:solidFill>
              <a:effectLst>
                <a:glow rad="228600">
                  <a:schemeClr val="accent4">
                    <a:satMod val="175000"/>
                    <a:alpha val="40000"/>
                  </a:schemeClr>
                </a:glow>
              </a:effectLst>
              <a:latin typeface="Meiryo UI" panose="020B0604030504040204" pitchFamily="50" charset="-128"/>
              <a:ea typeface="Meiryo UI" panose="020B0604030504040204" pitchFamily="50" charset="-128"/>
            </a:endParaRPr>
          </a:p>
          <a:p>
            <a:r>
              <a:rPr lang="ja-JP" altLang="en-US" sz="2000" dirty="0">
                <a:latin typeface="Meiryo UI" panose="020B0604030504040204" pitchFamily="50" charset="-128"/>
                <a:ea typeface="Meiryo UI" panose="020B0604030504040204" pitchFamily="50" charset="-128"/>
              </a:rPr>
              <a:t>今ある交通網に、最新の</a:t>
            </a:r>
            <a:r>
              <a:rPr lang="ja-JP" altLang="en-US" sz="2000" dirty="0" smtClean="0">
                <a:latin typeface="Meiryo UI" panose="020B0604030504040204" pitchFamily="50" charset="-128"/>
                <a:ea typeface="Meiryo UI" panose="020B0604030504040204" pitchFamily="50" charset="-128"/>
              </a:rPr>
              <a:t>技術や</a:t>
            </a:r>
            <a:r>
              <a:rPr lang="en-US" altLang="ja-JP" sz="2000" dirty="0" smtClean="0">
                <a:latin typeface="Meiryo UI" panose="020B0604030504040204" pitchFamily="50" charset="-128"/>
                <a:ea typeface="Meiryo UI" panose="020B0604030504040204" pitchFamily="50" charset="-128"/>
              </a:rPr>
              <a:t/>
            </a:r>
            <a:br>
              <a:rPr lang="en-US" altLang="ja-JP" sz="2000" dirty="0" smtClean="0">
                <a:latin typeface="Meiryo UI" panose="020B0604030504040204" pitchFamily="50" charset="-128"/>
                <a:ea typeface="Meiryo UI" panose="020B0604030504040204" pitchFamily="50" charset="-128"/>
              </a:rPr>
            </a:br>
            <a:r>
              <a:rPr lang="ja-JP" altLang="en-US" sz="2000" dirty="0" smtClean="0">
                <a:latin typeface="Meiryo UI" panose="020B0604030504040204" pitchFamily="50" charset="-128"/>
                <a:ea typeface="Meiryo UI" panose="020B0604030504040204" pitchFamily="50" charset="-128"/>
              </a:rPr>
              <a:t>情報</a:t>
            </a:r>
            <a:r>
              <a:rPr lang="ja-JP" altLang="en-US" sz="2000" dirty="0">
                <a:latin typeface="Meiryo UI" panose="020B0604030504040204" pitchFamily="50" charset="-128"/>
                <a:ea typeface="Meiryo UI" panose="020B0604030504040204" pitchFamily="50" charset="-128"/>
              </a:rPr>
              <a:t>を</a:t>
            </a:r>
            <a:r>
              <a:rPr lang="ja-JP" altLang="en-US" sz="2000" dirty="0" smtClean="0">
                <a:latin typeface="Meiryo UI" panose="020B0604030504040204" pitchFamily="50" charset="-128"/>
                <a:ea typeface="Meiryo UI" panose="020B0604030504040204" pitchFamily="50" charset="-128"/>
              </a:rPr>
              <a:t>取り入れ、交通</a:t>
            </a:r>
            <a:r>
              <a:rPr lang="ja-JP" altLang="en-US" sz="2000" dirty="0">
                <a:latin typeface="Meiryo UI" panose="020B0604030504040204" pitchFamily="50" charset="-128"/>
                <a:ea typeface="Meiryo UI" panose="020B0604030504040204" pitchFamily="50" charset="-128"/>
              </a:rPr>
              <a:t>課題の解消、また便利に利用して</a:t>
            </a:r>
            <a:r>
              <a:rPr lang="ja-JP" altLang="en-US" sz="2000" dirty="0" smtClean="0">
                <a:latin typeface="Meiryo UI" panose="020B0604030504040204" pitchFamily="50" charset="-128"/>
                <a:ea typeface="Meiryo UI" panose="020B0604030504040204" pitchFamily="50" charset="-128"/>
              </a:rPr>
              <a:t>いただくこと。</a:t>
            </a:r>
            <a:endParaRPr lang="en-US" altLang="ja-JP" dirty="0" smtClean="0">
              <a:latin typeface="Meiryo UI" panose="020B0604030504040204" pitchFamily="50" charset="-128"/>
              <a:ea typeface="Meiryo UI" panose="020B0604030504040204" pitchFamily="50" charset="-128"/>
            </a:endParaRPr>
          </a:p>
        </p:txBody>
      </p:sp>
      <p:sp>
        <p:nvSpPr>
          <p:cNvPr id="75" name="テキスト ボックス 74"/>
          <p:cNvSpPr txBox="1"/>
          <p:nvPr/>
        </p:nvSpPr>
        <p:spPr>
          <a:xfrm>
            <a:off x="8029142" y="6117500"/>
            <a:ext cx="2941745" cy="461665"/>
          </a:xfrm>
          <a:prstGeom prst="rect">
            <a:avLst/>
          </a:prstGeom>
          <a:noFill/>
        </p:spPr>
        <p:txBody>
          <a:bodyPr wrap="none" rtlCol="0">
            <a:noAutofit/>
          </a:bodyPr>
          <a:lstStyle/>
          <a:p>
            <a:r>
              <a:rPr lang="ja-JP" altLang="en-US" sz="1000" dirty="0">
                <a:latin typeface="Meiryo UI" panose="020B0604030504040204" pitchFamily="50" charset="-128"/>
                <a:ea typeface="Meiryo UI" panose="020B0604030504040204" pitchFamily="50" charset="-128"/>
              </a:rPr>
              <a:t>（参照：国土交通省 国土交通政策研究所 機関誌</a:t>
            </a:r>
            <a:endParaRPr lang="en-US" altLang="ja-JP" sz="1000" dirty="0">
              <a:latin typeface="Meiryo UI" panose="020B0604030504040204" pitchFamily="50" charset="-128"/>
              <a:ea typeface="Meiryo UI" panose="020B0604030504040204" pitchFamily="50" charset="-128"/>
            </a:endParaRPr>
          </a:p>
          <a:p>
            <a:r>
              <a:rPr lang="ja-JP" altLang="en-US" sz="1000" dirty="0">
                <a:latin typeface="Meiryo UI" panose="020B0604030504040204" pitchFamily="50" charset="-128"/>
                <a:ea typeface="Meiryo UI" panose="020B0604030504040204" pitchFamily="50" charset="-128"/>
              </a:rPr>
              <a:t>　　</a:t>
            </a:r>
            <a:r>
              <a:rPr lang="ja-JP" altLang="en-US" sz="1000" dirty="0" smtClean="0">
                <a:latin typeface="Meiryo UI" panose="020B0604030504040204" pitchFamily="50" charset="-128"/>
                <a:ea typeface="Meiryo UI" panose="020B0604030504040204" pitchFamily="50" charset="-128"/>
              </a:rPr>
              <a:t>　　　　</a:t>
            </a:r>
            <a:r>
              <a:rPr lang="en-US" altLang="ja-JP" sz="1000" dirty="0" smtClean="0">
                <a:latin typeface="Meiryo UI" panose="020B0604030504040204" pitchFamily="50" charset="-128"/>
                <a:ea typeface="Meiryo UI" panose="020B0604030504040204" pitchFamily="50" charset="-128"/>
              </a:rPr>
              <a:t>PRI</a:t>
            </a:r>
            <a:r>
              <a:rPr lang="ja-JP" altLang="en-US" sz="1000" dirty="0" smtClean="0">
                <a:latin typeface="Meiryo UI" panose="020B0604030504040204" pitchFamily="50" charset="-128"/>
                <a:ea typeface="Meiryo UI" panose="020B0604030504040204" pitchFamily="50" charset="-128"/>
              </a:rPr>
              <a:t> </a:t>
            </a:r>
            <a:r>
              <a:rPr lang="en-US" altLang="ja-JP" sz="1000" dirty="0">
                <a:latin typeface="Meiryo UI" panose="020B0604030504040204" pitchFamily="50" charset="-128"/>
                <a:ea typeface="Meiryo UI" panose="020B0604030504040204" pitchFamily="50" charset="-128"/>
              </a:rPr>
              <a:t>Review 69</a:t>
            </a:r>
            <a:r>
              <a:rPr lang="ja-JP" altLang="en-US" sz="1000" dirty="0">
                <a:latin typeface="Meiryo UI" panose="020B0604030504040204" pitchFamily="50" charset="-128"/>
                <a:ea typeface="Meiryo UI" panose="020B0604030504040204" pitchFamily="50" charset="-128"/>
              </a:rPr>
              <a:t>号 パースペクティブ）</a:t>
            </a:r>
            <a:endParaRPr lang="en-US" altLang="ja-JP" sz="1400" dirty="0">
              <a:latin typeface="Meiryo UI" panose="020B0604030504040204" pitchFamily="50" charset="-128"/>
              <a:ea typeface="Meiryo UI" panose="020B0604030504040204" pitchFamily="50" charset="-128"/>
              <a:cs typeface="Microsoft Himalaya" panose="01010100010101010101" pitchFamily="2" charset="0"/>
            </a:endParaRPr>
          </a:p>
        </p:txBody>
      </p:sp>
      <p:sp>
        <p:nvSpPr>
          <p:cNvPr id="135" name="テキスト ボックス 134"/>
          <p:cNvSpPr txBox="1"/>
          <p:nvPr/>
        </p:nvSpPr>
        <p:spPr>
          <a:xfrm>
            <a:off x="1137368" y="2282591"/>
            <a:ext cx="1342308" cy="346234"/>
          </a:xfrm>
          <a:prstGeom prst="roundRect">
            <a:avLst>
              <a:gd name="adj" fmla="val 50000"/>
            </a:avLst>
          </a:prstGeom>
          <a:solidFill>
            <a:schemeClr val="accent6">
              <a:lumMod val="50000"/>
            </a:schemeClr>
          </a:solidFill>
          <a:ln>
            <a:noFill/>
          </a:ln>
        </p:spPr>
        <p:txBody>
          <a:bodyPr wrap="square" lIns="0" tIns="0" rIns="0" bIns="0" rtlCol="0">
            <a:spAutoFit/>
          </a:bodyPr>
          <a:lstStyle/>
          <a:p>
            <a:pPr algn="ctr"/>
            <a:r>
              <a:rPr lang="ja-JP" altLang="en-US" sz="1600" b="1" dirty="0" smtClean="0">
                <a:solidFill>
                  <a:schemeClr val="bg1"/>
                </a:solidFill>
                <a:latin typeface="Meiryo UI" panose="020B0604030504040204" pitchFamily="50" charset="-128"/>
                <a:ea typeface="Meiryo UI" panose="020B0604030504040204" pitchFamily="50" charset="-128"/>
              </a:rPr>
              <a:t>交通インフラ</a:t>
            </a:r>
            <a:endParaRPr kumimoji="1" lang="ja-JP" altLang="en-US" sz="1600" b="1" dirty="0">
              <a:solidFill>
                <a:schemeClr val="bg1"/>
              </a:solidFill>
              <a:latin typeface="Meiryo UI" panose="020B0604030504040204" pitchFamily="50" charset="-128"/>
              <a:ea typeface="Meiryo UI" panose="020B0604030504040204" pitchFamily="50" charset="-128"/>
            </a:endParaRPr>
          </a:p>
        </p:txBody>
      </p:sp>
      <p:sp>
        <p:nvSpPr>
          <p:cNvPr id="140" name="テキスト ボックス 139"/>
          <p:cNvSpPr txBox="1"/>
          <p:nvPr/>
        </p:nvSpPr>
        <p:spPr>
          <a:xfrm>
            <a:off x="7644579" y="4558112"/>
            <a:ext cx="3710871" cy="1292662"/>
          </a:xfrm>
          <a:prstGeom prst="rect">
            <a:avLst/>
          </a:prstGeom>
          <a:noFill/>
        </p:spPr>
        <p:txBody>
          <a:bodyPr wrap="square" rtlCol="0">
            <a:spAutoFit/>
          </a:bodyPr>
          <a:lstStyle/>
          <a:p>
            <a:pPr algn="ctr"/>
            <a:r>
              <a:rPr kumimoji="1" lang="ja-JP" altLang="en-US" sz="2600" b="1" dirty="0" smtClean="0">
                <a:solidFill>
                  <a:schemeClr val="accent4"/>
                </a:solidFill>
                <a:latin typeface="Meiryo UI" panose="020B0604030504040204" pitchFamily="50" charset="-128"/>
                <a:ea typeface="Meiryo UI" panose="020B0604030504040204" pitchFamily="50" charset="-128"/>
              </a:rPr>
              <a:t>お客さまの移動を</a:t>
            </a:r>
            <a:endParaRPr kumimoji="1" lang="en-US" altLang="ja-JP" sz="2600" b="1" dirty="0" smtClean="0">
              <a:solidFill>
                <a:schemeClr val="accent4"/>
              </a:solidFill>
              <a:latin typeface="Meiryo UI" panose="020B0604030504040204" pitchFamily="50" charset="-128"/>
              <a:ea typeface="Meiryo UI" panose="020B0604030504040204" pitchFamily="50" charset="-128"/>
            </a:endParaRPr>
          </a:p>
          <a:p>
            <a:pPr algn="ctr"/>
            <a:r>
              <a:rPr kumimoji="1" lang="ja-JP" altLang="en-US" sz="2600" b="1" dirty="0" smtClean="0">
                <a:solidFill>
                  <a:schemeClr val="accent4"/>
                </a:solidFill>
                <a:latin typeface="Meiryo UI" panose="020B0604030504040204" pitchFamily="50" charset="-128"/>
                <a:ea typeface="Meiryo UI" panose="020B0604030504040204" pitchFamily="50" charset="-128"/>
              </a:rPr>
              <a:t>トータルなサービスとして</a:t>
            </a:r>
            <a:endParaRPr kumimoji="1" lang="en-US" altLang="ja-JP" sz="2600" b="1" dirty="0" smtClean="0">
              <a:solidFill>
                <a:schemeClr val="accent4"/>
              </a:solidFill>
              <a:latin typeface="Meiryo UI" panose="020B0604030504040204" pitchFamily="50" charset="-128"/>
              <a:ea typeface="Meiryo UI" panose="020B0604030504040204" pitchFamily="50" charset="-128"/>
            </a:endParaRPr>
          </a:p>
          <a:p>
            <a:pPr algn="ctr"/>
            <a:r>
              <a:rPr kumimoji="1" lang="ja-JP" altLang="en-US" sz="2600" b="1" dirty="0" smtClean="0">
                <a:solidFill>
                  <a:schemeClr val="accent4"/>
                </a:solidFill>
                <a:latin typeface="Meiryo UI" panose="020B0604030504040204" pitchFamily="50" charset="-128"/>
                <a:ea typeface="Meiryo UI" panose="020B0604030504040204" pitchFamily="50" charset="-128"/>
              </a:rPr>
              <a:t>提供します。</a:t>
            </a:r>
            <a:endParaRPr kumimoji="1" lang="ja-JP" altLang="en-US" sz="2600" b="1" dirty="0">
              <a:solidFill>
                <a:schemeClr val="accent4"/>
              </a:solidFill>
              <a:latin typeface="Meiryo UI" panose="020B0604030504040204" pitchFamily="50" charset="-128"/>
              <a:ea typeface="Meiryo UI" panose="020B0604030504040204" pitchFamily="50" charset="-128"/>
            </a:endParaRPr>
          </a:p>
        </p:txBody>
      </p:sp>
      <p:pic>
        <p:nvPicPr>
          <p:cNvPr id="72" name="図 7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06398" y="2656889"/>
            <a:ext cx="1646767" cy="1436805"/>
          </a:xfrm>
          <a:prstGeom prst="rect">
            <a:avLst/>
          </a:prstGeom>
        </p:spPr>
      </p:pic>
      <p:sp>
        <p:nvSpPr>
          <p:cNvPr id="5" name="サブタイトル 4"/>
          <p:cNvSpPr>
            <a:spLocks noGrp="1"/>
          </p:cNvSpPr>
          <p:nvPr>
            <p:ph type="subTitle" idx="1"/>
          </p:nvPr>
        </p:nvSpPr>
        <p:spPr>
          <a:xfrm>
            <a:off x="641350" y="802282"/>
            <a:ext cx="10918825" cy="1012070"/>
          </a:xfrm>
        </p:spPr>
        <p:txBody>
          <a:bodyPr/>
          <a:lstStyle/>
          <a:p>
            <a:r>
              <a:rPr lang="ja-JP" altLang="en-US" dirty="0">
                <a:latin typeface="Meiryo UI" panose="020B0604030504040204" pitchFamily="50" charset="-128"/>
              </a:rPr>
              <a:t>“</a:t>
            </a:r>
            <a:r>
              <a:rPr lang="en-US" altLang="ja-JP" dirty="0">
                <a:latin typeface="Meiryo UI" panose="020B0604030504040204" pitchFamily="50" charset="-128"/>
              </a:rPr>
              <a:t>MaaS</a:t>
            </a:r>
            <a:r>
              <a:rPr lang="ja-JP" altLang="en-US" dirty="0">
                <a:latin typeface="Meiryo UI" panose="020B0604030504040204" pitchFamily="50" charset="-128"/>
              </a:rPr>
              <a:t>とは、</a:t>
            </a:r>
            <a:r>
              <a:rPr lang="en-US" altLang="ja-JP" dirty="0">
                <a:latin typeface="Meiryo UI" panose="020B0604030504040204" pitchFamily="50" charset="-128"/>
              </a:rPr>
              <a:t>ICT </a:t>
            </a:r>
            <a:r>
              <a:rPr lang="ja-JP" altLang="en-US" dirty="0">
                <a:latin typeface="Meiryo UI" panose="020B0604030504040204" pitchFamily="50" charset="-128"/>
              </a:rPr>
              <a:t>を活用して交通をクラウド化し、公共交通か否か、またその運営主体にかかわらず</a:t>
            </a:r>
            <a:r>
              <a:rPr lang="ja-JP" altLang="en-US" dirty="0" smtClean="0">
                <a:latin typeface="Meiryo UI" panose="020B0604030504040204" pitchFamily="50" charset="-128"/>
              </a:rPr>
              <a:t>、</a:t>
            </a:r>
            <a:r>
              <a:rPr lang="en-US" altLang="ja-JP" dirty="0" smtClean="0">
                <a:latin typeface="Meiryo UI" panose="020B0604030504040204" pitchFamily="50" charset="-128"/>
              </a:rPr>
              <a:t/>
            </a:r>
            <a:br>
              <a:rPr lang="en-US" altLang="ja-JP" dirty="0" smtClean="0">
                <a:latin typeface="Meiryo UI" panose="020B0604030504040204" pitchFamily="50" charset="-128"/>
              </a:rPr>
            </a:br>
            <a:r>
              <a:rPr lang="ja-JP" altLang="en-US" dirty="0" smtClean="0">
                <a:latin typeface="Meiryo UI" panose="020B0604030504040204" pitchFamily="50" charset="-128"/>
              </a:rPr>
              <a:t>マイカー</a:t>
            </a:r>
            <a:r>
              <a:rPr lang="ja-JP" altLang="en-US" dirty="0">
                <a:latin typeface="Meiryo UI" panose="020B0604030504040204" pitchFamily="50" charset="-128"/>
              </a:rPr>
              <a:t>以外のすべての交通手段によるモビリティ（移動）を</a:t>
            </a:r>
            <a:r>
              <a:rPr lang="en-US" altLang="ja-JP" dirty="0">
                <a:latin typeface="Meiryo UI" panose="020B0604030504040204" pitchFamily="50" charset="-128"/>
              </a:rPr>
              <a:t>1</a:t>
            </a:r>
            <a:r>
              <a:rPr lang="ja-JP" altLang="en-US" dirty="0">
                <a:latin typeface="Meiryo UI" panose="020B0604030504040204" pitchFamily="50" charset="-128"/>
              </a:rPr>
              <a:t>つのサービスとしてとらえ</a:t>
            </a:r>
            <a:r>
              <a:rPr lang="ja-JP" altLang="en-US" dirty="0" smtClean="0">
                <a:latin typeface="Meiryo UI" panose="020B0604030504040204" pitchFamily="50" charset="-128"/>
              </a:rPr>
              <a:t>、</a:t>
            </a:r>
            <a:r>
              <a:rPr lang="en-US" altLang="ja-JP" dirty="0" smtClean="0">
                <a:latin typeface="Meiryo UI" panose="020B0604030504040204" pitchFamily="50" charset="-128"/>
              </a:rPr>
              <a:t/>
            </a:r>
            <a:br>
              <a:rPr lang="en-US" altLang="ja-JP" dirty="0" smtClean="0">
                <a:latin typeface="Meiryo UI" panose="020B0604030504040204" pitchFamily="50" charset="-128"/>
              </a:rPr>
            </a:br>
            <a:r>
              <a:rPr lang="ja-JP" altLang="en-US" dirty="0" smtClean="0">
                <a:latin typeface="Meiryo UI" panose="020B0604030504040204" pitchFamily="50" charset="-128"/>
              </a:rPr>
              <a:t>シームレス</a:t>
            </a:r>
            <a:r>
              <a:rPr lang="ja-JP" altLang="en-US" dirty="0">
                <a:latin typeface="Meiryo UI" panose="020B0604030504040204" pitchFamily="50" charset="-128"/>
              </a:rPr>
              <a:t>に</a:t>
            </a:r>
            <a:r>
              <a:rPr lang="ja-JP" altLang="en-US" dirty="0" smtClean="0">
                <a:latin typeface="Meiryo UI" panose="020B0604030504040204" pitchFamily="50" charset="-128"/>
              </a:rPr>
              <a:t>つなぐ新た</a:t>
            </a:r>
            <a:r>
              <a:rPr lang="ja-JP" altLang="en-US" dirty="0">
                <a:latin typeface="Meiryo UI" panose="020B0604030504040204" pitchFamily="50" charset="-128"/>
              </a:rPr>
              <a:t>な「移動」の概念である</a:t>
            </a:r>
            <a:r>
              <a:rPr lang="ja-JP" altLang="en-US" dirty="0" smtClean="0">
                <a:latin typeface="Meiryo UI" panose="020B0604030504040204" pitchFamily="50" charset="-128"/>
              </a:rPr>
              <a:t>。</a:t>
            </a:r>
            <a:endParaRPr lang="en-US" altLang="ja-JP" dirty="0">
              <a:latin typeface="Meiryo UI" panose="020B0604030504040204" pitchFamily="50" charset="-128"/>
            </a:endParaRPr>
          </a:p>
        </p:txBody>
      </p:sp>
      <p:sp>
        <p:nvSpPr>
          <p:cNvPr id="133" name="テキスト ボックス 132"/>
          <p:cNvSpPr txBox="1"/>
          <p:nvPr/>
        </p:nvSpPr>
        <p:spPr>
          <a:xfrm>
            <a:off x="5030343" y="2274620"/>
            <a:ext cx="798876" cy="346234"/>
          </a:xfrm>
          <a:prstGeom prst="roundRect">
            <a:avLst>
              <a:gd name="adj" fmla="val 50000"/>
            </a:avLst>
          </a:prstGeom>
          <a:solidFill>
            <a:schemeClr val="accent6">
              <a:lumMod val="50000"/>
            </a:schemeClr>
          </a:solidFill>
          <a:ln>
            <a:noFill/>
          </a:ln>
        </p:spPr>
        <p:txBody>
          <a:bodyPr wrap="square" lIns="0" tIns="0" rIns="0" bIns="0" rtlCol="0">
            <a:spAutoFit/>
          </a:bodyPr>
          <a:lstStyle/>
          <a:p>
            <a:pPr algn="ctr"/>
            <a:r>
              <a:rPr lang="en-US" altLang="ja-JP" sz="1600" b="1" dirty="0" smtClean="0">
                <a:solidFill>
                  <a:schemeClr val="bg1"/>
                </a:solidFill>
                <a:latin typeface="Meiryo UI" panose="020B0604030504040204" pitchFamily="50" charset="-128"/>
                <a:ea typeface="Meiryo UI" panose="020B0604030504040204" pitchFamily="50" charset="-128"/>
              </a:rPr>
              <a:t>AI</a:t>
            </a:r>
            <a:endParaRPr kumimoji="1" lang="ja-JP" altLang="en-US" sz="1600" b="1" dirty="0">
              <a:solidFill>
                <a:schemeClr val="bg1"/>
              </a:solidFill>
              <a:latin typeface="Meiryo UI" panose="020B0604030504040204" pitchFamily="50" charset="-128"/>
              <a:ea typeface="Meiryo UI" panose="020B0604030504040204" pitchFamily="50" charset="-128"/>
            </a:endParaRPr>
          </a:p>
        </p:txBody>
      </p:sp>
      <p:sp>
        <p:nvSpPr>
          <p:cNvPr id="138" name="テキスト ボックス 137"/>
          <p:cNvSpPr txBox="1"/>
          <p:nvPr/>
        </p:nvSpPr>
        <p:spPr>
          <a:xfrm>
            <a:off x="1641703" y="5492194"/>
            <a:ext cx="1472292" cy="346234"/>
          </a:xfrm>
          <a:prstGeom prst="roundRect">
            <a:avLst>
              <a:gd name="adj" fmla="val 50000"/>
            </a:avLst>
          </a:prstGeom>
          <a:solidFill>
            <a:schemeClr val="accent6">
              <a:lumMod val="50000"/>
            </a:schemeClr>
          </a:solidFill>
          <a:ln>
            <a:noFill/>
          </a:ln>
        </p:spPr>
        <p:txBody>
          <a:bodyPr wrap="square" lIns="0" tIns="0" rIns="0" bIns="0" rtlCol="0">
            <a:spAutoFit/>
          </a:bodyPr>
          <a:lstStyle/>
          <a:p>
            <a:pPr algn="ctr"/>
            <a:r>
              <a:rPr lang="ja-JP" altLang="en-US" sz="1600" b="1" dirty="0">
                <a:solidFill>
                  <a:schemeClr val="bg1"/>
                </a:solidFill>
                <a:latin typeface="Meiryo UI" panose="020B0604030504040204" pitchFamily="50" charset="-128"/>
                <a:ea typeface="Meiryo UI" panose="020B0604030504040204" pitchFamily="50" charset="-128"/>
              </a:rPr>
              <a:t>自動運転技術</a:t>
            </a:r>
          </a:p>
        </p:txBody>
      </p:sp>
      <p:sp>
        <p:nvSpPr>
          <p:cNvPr id="139" name="テキスト ボックス 138"/>
          <p:cNvSpPr txBox="1"/>
          <p:nvPr/>
        </p:nvSpPr>
        <p:spPr>
          <a:xfrm>
            <a:off x="5127183" y="4752463"/>
            <a:ext cx="1389013" cy="346234"/>
          </a:xfrm>
          <a:prstGeom prst="roundRect">
            <a:avLst>
              <a:gd name="adj" fmla="val 50000"/>
            </a:avLst>
          </a:prstGeom>
          <a:solidFill>
            <a:schemeClr val="accent6">
              <a:lumMod val="50000"/>
            </a:schemeClr>
          </a:solidFill>
          <a:ln>
            <a:noFill/>
          </a:ln>
        </p:spPr>
        <p:txBody>
          <a:bodyPr wrap="square" lIns="0" tIns="0" rIns="0" bIns="0" rtlCol="0">
            <a:spAutoFit/>
          </a:bodyPr>
          <a:lstStyle/>
          <a:p>
            <a:pPr algn="ctr"/>
            <a:r>
              <a:rPr lang="ja-JP" altLang="en-US" sz="1600" b="1" dirty="0" smtClean="0">
                <a:solidFill>
                  <a:schemeClr val="bg1"/>
                </a:solidFill>
                <a:latin typeface="Meiryo UI" panose="020B0604030504040204" pitchFamily="50" charset="-128"/>
                <a:ea typeface="Meiryo UI" panose="020B0604030504040204" pitchFamily="50" charset="-128"/>
              </a:rPr>
              <a:t>スマートフォン</a:t>
            </a:r>
            <a:endParaRPr lang="ja-JP" altLang="en-US" sz="1600" b="1" dirty="0">
              <a:solidFill>
                <a:schemeClr val="bg1"/>
              </a:solidFill>
              <a:latin typeface="Meiryo UI" panose="020B0604030504040204" pitchFamily="50" charset="-128"/>
              <a:ea typeface="Meiryo UI" panose="020B0604030504040204" pitchFamily="50" charset="-128"/>
            </a:endParaRPr>
          </a:p>
        </p:txBody>
      </p:sp>
      <p:pic>
        <p:nvPicPr>
          <p:cNvPr id="6" name="図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1519083" y="3897192"/>
            <a:ext cx="1717533" cy="1609679"/>
          </a:xfrm>
          <a:prstGeom prst="rect">
            <a:avLst/>
          </a:prstGeom>
        </p:spPr>
      </p:pic>
      <p:pic>
        <p:nvPicPr>
          <p:cNvPr id="7" name="図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flipH="1">
            <a:off x="2474673" y="2171440"/>
            <a:ext cx="1479536" cy="928924"/>
          </a:xfrm>
          <a:prstGeom prst="rect">
            <a:avLst/>
          </a:prstGeom>
        </p:spPr>
      </p:pic>
      <p:pic>
        <p:nvPicPr>
          <p:cNvPr id="8" name="図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06316" y="3153763"/>
            <a:ext cx="1130510" cy="810931"/>
          </a:xfrm>
          <a:prstGeom prst="rect">
            <a:avLst/>
          </a:prstGeom>
        </p:spPr>
      </p:pic>
      <p:pic>
        <p:nvPicPr>
          <p:cNvPr id="9" name="図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85420" y="2652576"/>
            <a:ext cx="1896445" cy="1233025"/>
          </a:xfrm>
          <a:prstGeom prst="rect">
            <a:avLst/>
          </a:prstGeom>
        </p:spPr>
      </p:pic>
      <p:grpSp>
        <p:nvGrpSpPr>
          <p:cNvPr id="13" name="グループ化 12"/>
          <p:cNvGrpSpPr/>
          <p:nvPr/>
        </p:nvGrpSpPr>
        <p:grpSpPr>
          <a:xfrm>
            <a:off x="3748000" y="4140173"/>
            <a:ext cx="1349234" cy="1956931"/>
            <a:chOff x="4791404" y="4046269"/>
            <a:chExt cx="1192561" cy="1729692"/>
          </a:xfrm>
        </p:grpSpPr>
        <p:pic>
          <p:nvPicPr>
            <p:cNvPr id="10" name="図 9"/>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4791404" y="4046269"/>
              <a:ext cx="1192561" cy="1729692"/>
            </a:xfrm>
            <a:prstGeom prst="rect">
              <a:avLst/>
            </a:prstGeom>
          </p:spPr>
        </p:pic>
        <p:grpSp>
          <p:nvGrpSpPr>
            <p:cNvPr id="11" name="グループ化 10"/>
            <p:cNvGrpSpPr/>
            <p:nvPr/>
          </p:nvGrpSpPr>
          <p:grpSpPr>
            <a:xfrm>
              <a:off x="5154602" y="4140993"/>
              <a:ext cx="632544" cy="1252857"/>
              <a:chOff x="6022905" y="4763450"/>
              <a:chExt cx="682398" cy="1351601"/>
            </a:xfrm>
          </p:grpSpPr>
          <p:sp>
            <p:nvSpPr>
              <p:cNvPr id="79" name="Rectangle 254"/>
              <p:cNvSpPr/>
              <p:nvPr/>
            </p:nvSpPr>
            <p:spPr bwMode="auto">
              <a:xfrm>
                <a:off x="6022905" y="4763450"/>
                <a:ext cx="682398" cy="53700"/>
              </a:xfrm>
              <a:prstGeom prst="rect">
                <a:avLst/>
              </a:prstGeom>
              <a:noFill/>
              <a:ln w="9525" algn="ctr">
                <a:noFill/>
                <a:miter lim="800000"/>
                <a:headEnd/>
                <a:tailEnd/>
              </a:ln>
              <a:extLst>
                <a:ext uri="{909E8E84-426E-40DD-AFC4-6F175D3DCCD1}">
                  <a14:hiddenFill xmlns:a14="http://schemas.microsoft.com/office/drawing/2010/main">
                    <a:solidFill>
                      <a:srgbClr val="6E6F73"/>
                    </a:solidFill>
                  </a14:hiddenFill>
                </a:ext>
                <a:ext uri="{91240B29-F687-4F45-9708-019B960494DF}">
                  <a14:hiddenLine xmlns:a14="http://schemas.microsoft.com/office/drawing/2010/main" w="9525" algn="ctr">
                    <a:solidFill>
                      <a:srgbClr val="E2E2E2"/>
                    </a:solidFill>
                    <a:miter lim="800000"/>
                    <a:headEnd/>
                    <a:tailEnd/>
                  </a14:hiddenLine>
                </a:ext>
              </a:extLst>
            </p:spPr>
            <p:txBody>
              <a:bodyPr wrap="none" lIns="36000" tIns="10800" rIns="36000" bIns="10800" rtlCol="0" anchor="ctr"/>
              <a:lstStyle/>
              <a:p>
                <a:pPr marL="185738" indent="-185738">
                  <a:buClr>
                    <a:srgbClr val="969696"/>
                  </a:buClr>
                  <a:buSzPct val="80000"/>
                  <a:defRPr/>
                </a:pPr>
                <a:r>
                  <a:rPr kumimoji="0" lang="en-US" sz="500" dirty="0">
                    <a:solidFill>
                      <a:prstClr val="black"/>
                    </a:solidFill>
                    <a:latin typeface="Trebuchet MS"/>
                    <a:ea typeface="Meiryo UI"/>
                  </a:rPr>
                  <a:t>9/15 15:00</a:t>
                </a:r>
                <a:r>
                  <a:rPr kumimoji="0" lang="ja-JP" altLang="en-US" sz="500" dirty="0">
                    <a:solidFill>
                      <a:prstClr val="black"/>
                    </a:solidFill>
                    <a:latin typeface="Trebuchet MS"/>
                    <a:ea typeface="Meiryo UI"/>
                  </a:rPr>
                  <a:t>出発</a:t>
                </a:r>
                <a:endParaRPr kumimoji="0" lang="en-US" sz="500" dirty="0">
                  <a:solidFill>
                    <a:prstClr val="black"/>
                  </a:solidFill>
                  <a:latin typeface="Trebuchet MS"/>
                  <a:ea typeface="Meiryo UI"/>
                </a:endParaRPr>
              </a:p>
            </p:txBody>
          </p:sp>
          <p:sp>
            <p:nvSpPr>
              <p:cNvPr id="80" name="Rectangle 255"/>
              <p:cNvSpPr/>
              <p:nvPr/>
            </p:nvSpPr>
            <p:spPr bwMode="auto">
              <a:xfrm>
                <a:off x="6030037" y="4840828"/>
                <a:ext cx="209352" cy="147326"/>
              </a:xfrm>
              <a:prstGeom prst="rect">
                <a:avLst/>
              </a:prstGeom>
              <a:solidFill>
                <a:schemeClr val="accent4">
                  <a:lumMod val="20000"/>
                  <a:lumOff val="80000"/>
                </a:schemeClr>
              </a:solidFill>
              <a:ln w="9525" algn="ctr">
                <a:noFill/>
                <a:miter lim="800000"/>
                <a:headEnd/>
                <a:tailEnd/>
              </a:ln>
            </p:spPr>
            <p:txBody>
              <a:bodyPr wrap="none" lIns="36000" tIns="10800" rIns="36000" bIns="10800" rtlCol="0" anchor="ctr"/>
              <a:lstStyle/>
              <a:p>
                <a:pPr algn="ctr">
                  <a:buClr>
                    <a:srgbClr val="969696"/>
                  </a:buClr>
                  <a:buSzPct val="80000"/>
                  <a:defRPr/>
                </a:pPr>
                <a:r>
                  <a:rPr kumimoji="0" lang="ja-JP" altLang="en-US" sz="500" dirty="0">
                    <a:solidFill>
                      <a:prstClr val="black"/>
                    </a:solidFill>
                    <a:latin typeface="Trebuchet MS"/>
                    <a:ea typeface="Meiryo UI"/>
                  </a:rPr>
                  <a:t>到着が</a:t>
                </a:r>
                <a:r>
                  <a:rPr kumimoji="0" lang="en-US" altLang="ja-JP" sz="500" dirty="0">
                    <a:solidFill>
                      <a:prstClr val="black"/>
                    </a:solidFill>
                    <a:latin typeface="Trebuchet MS"/>
                    <a:ea typeface="Meiryo UI"/>
                  </a:rPr>
                  <a:t/>
                </a:r>
                <a:br>
                  <a:rPr kumimoji="0" lang="en-US" altLang="ja-JP" sz="500" dirty="0">
                    <a:solidFill>
                      <a:prstClr val="black"/>
                    </a:solidFill>
                    <a:latin typeface="Trebuchet MS"/>
                    <a:ea typeface="Meiryo UI"/>
                  </a:rPr>
                </a:br>
                <a:r>
                  <a:rPr kumimoji="0" lang="ja-JP" altLang="en-US" sz="500" dirty="0">
                    <a:solidFill>
                      <a:prstClr val="black"/>
                    </a:solidFill>
                    <a:latin typeface="Trebuchet MS"/>
                    <a:ea typeface="Meiryo UI"/>
                  </a:rPr>
                  <a:t>早い</a:t>
                </a:r>
                <a:endParaRPr kumimoji="0" lang="en-US" sz="500" dirty="0">
                  <a:solidFill>
                    <a:prstClr val="black"/>
                  </a:solidFill>
                  <a:latin typeface="Trebuchet MS"/>
                  <a:ea typeface="Meiryo UI"/>
                </a:endParaRPr>
              </a:p>
            </p:txBody>
          </p:sp>
          <p:sp>
            <p:nvSpPr>
              <p:cNvPr id="81" name="Rectangle 256"/>
              <p:cNvSpPr/>
              <p:nvPr/>
            </p:nvSpPr>
            <p:spPr bwMode="auto">
              <a:xfrm>
                <a:off x="6262731" y="4840828"/>
                <a:ext cx="209352" cy="147326"/>
              </a:xfrm>
              <a:prstGeom prst="rect">
                <a:avLst/>
              </a:prstGeom>
              <a:solidFill>
                <a:srgbClr val="C8C8C8"/>
              </a:solidFill>
              <a:ln w="9525" algn="ctr">
                <a:noFill/>
                <a:miter lim="800000"/>
                <a:headEnd/>
                <a:tailEnd/>
              </a:ln>
              <a:extLst>
                <a:ext uri="{91240B29-F687-4F45-9708-019B960494DF}">
                  <a14:hiddenLine xmlns:a14="http://schemas.microsoft.com/office/drawing/2010/main" w="9525" algn="ctr">
                    <a:solidFill>
                      <a:srgbClr val="E2E2E2"/>
                    </a:solidFill>
                    <a:miter lim="800000"/>
                    <a:headEnd/>
                    <a:tailEnd/>
                  </a14:hiddenLine>
                </a:ext>
              </a:extLst>
            </p:spPr>
            <p:txBody>
              <a:bodyPr wrap="none" lIns="36000" tIns="10800" rIns="36000" bIns="10800" rtlCol="0" anchor="ctr"/>
              <a:lstStyle/>
              <a:p>
                <a:pPr indent="-185738" algn="ctr">
                  <a:buClr>
                    <a:srgbClr val="969696"/>
                  </a:buClr>
                  <a:buSzPct val="80000"/>
                  <a:defRPr/>
                </a:pPr>
                <a:r>
                  <a:rPr kumimoji="0" lang="ja-JP" altLang="en-US" sz="500" dirty="0">
                    <a:solidFill>
                      <a:srgbClr val="7F7F7F"/>
                    </a:solidFill>
                    <a:latin typeface="Trebuchet MS"/>
                    <a:ea typeface="Meiryo UI"/>
                  </a:rPr>
                  <a:t>料金が</a:t>
                </a:r>
                <a:r>
                  <a:rPr kumimoji="0" lang="en-US" altLang="ja-JP" sz="500" dirty="0">
                    <a:solidFill>
                      <a:srgbClr val="7F7F7F"/>
                    </a:solidFill>
                    <a:latin typeface="Trebuchet MS"/>
                    <a:ea typeface="Meiryo UI"/>
                  </a:rPr>
                  <a:t/>
                </a:r>
                <a:br>
                  <a:rPr kumimoji="0" lang="en-US" altLang="ja-JP" sz="500" dirty="0">
                    <a:solidFill>
                      <a:srgbClr val="7F7F7F"/>
                    </a:solidFill>
                    <a:latin typeface="Trebuchet MS"/>
                    <a:ea typeface="Meiryo UI"/>
                  </a:rPr>
                </a:br>
                <a:r>
                  <a:rPr kumimoji="0" lang="ja-JP" altLang="en-US" sz="500" dirty="0">
                    <a:solidFill>
                      <a:srgbClr val="7F7F7F"/>
                    </a:solidFill>
                    <a:latin typeface="Trebuchet MS"/>
                    <a:ea typeface="Meiryo UI"/>
                  </a:rPr>
                  <a:t>安い</a:t>
                </a:r>
                <a:endParaRPr kumimoji="0" lang="en-US" sz="500" dirty="0">
                  <a:solidFill>
                    <a:srgbClr val="7F7F7F"/>
                  </a:solidFill>
                  <a:latin typeface="Trebuchet MS"/>
                  <a:ea typeface="Meiryo UI"/>
                </a:endParaRPr>
              </a:p>
            </p:txBody>
          </p:sp>
          <p:sp>
            <p:nvSpPr>
              <p:cNvPr id="82" name="Rectangle 257"/>
              <p:cNvSpPr/>
              <p:nvPr/>
            </p:nvSpPr>
            <p:spPr bwMode="auto">
              <a:xfrm>
                <a:off x="6495425" y="4840828"/>
                <a:ext cx="209352" cy="147326"/>
              </a:xfrm>
              <a:prstGeom prst="rect">
                <a:avLst/>
              </a:prstGeom>
              <a:solidFill>
                <a:srgbClr val="C8C8C8"/>
              </a:solidFill>
              <a:ln w="9525" algn="ctr">
                <a:noFill/>
                <a:miter lim="800000"/>
                <a:headEnd/>
                <a:tailEnd/>
              </a:ln>
              <a:extLst>
                <a:ext uri="{91240B29-F687-4F45-9708-019B960494DF}">
                  <a14:hiddenLine xmlns:a14="http://schemas.microsoft.com/office/drawing/2010/main" w="9525" algn="ctr">
                    <a:solidFill>
                      <a:srgbClr val="E2E2E2"/>
                    </a:solidFill>
                    <a:miter lim="800000"/>
                    <a:headEnd/>
                    <a:tailEnd/>
                  </a14:hiddenLine>
                </a:ext>
              </a:extLst>
            </p:spPr>
            <p:txBody>
              <a:bodyPr wrap="none" lIns="36000" tIns="10800" rIns="36000" bIns="10800" rtlCol="0" anchor="ctr"/>
              <a:lstStyle/>
              <a:p>
                <a:pPr indent="-185738" algn="ctr">
                  <a:buClr>
                    <a:srgbClr val="969696"/>
                  </a:buClr>
                  <a:buSzPct val="80000"/>
                  <a:defRPr/>
                </a:pPr>
                <a:r>
                  <a:rPr kumimoji="0" lang="ja-JP" altLang="en-US" sz="500" dirty="0">
                    <a:solidFill>
                      <a:srgbClr val="7F7F7F"/>
                    </a:solidFill>
                    <a:latin typeface="Trebuchet MS"/>
                    <a:ea typeface="Meiryo UI"/>
                  </a:rPr>
                  <a:t>乗換が</a:t>
                </a:r>
                <a:r>
                  <a:rPr kumimoji="0" lang="en-US" altLang="ja-JP" sz="500" dirty="0">
                    <a:solidFill>
                      <a:srgbClr val="7F7F7F"/>
                    </a:solidFill>
                    <a:latin typeface="Trebuchet MS"/>
                    <a:ea typeface="Meiryo UI"/>
                  </a:rPr>
                  <a:t/>
                </a:r>
                <a:br>
                  <a:rPr kumimoji="0" lang="en-US" altLang="ja-JP" sz="500" dirty="0">
                    <a:solidFill>
                      <a:srgbClr val="7F7F7F"/>
                    </a:solidFill>
                    <a:latin typeface="Trebuchet MS"/>
                    <a:ea typeface="Meiryo UI"/>
                  </a:rPr>
                </a:br>
                <a:r>
                  <a:rPr kumimoji="0" lang="ja-JP" altLang="en-US" sz="500" dirty="0">
                    <a:solidFill>
                      <a:srgbClr val="7F7F7F"/>
                    </a:solidFill>
                    <a:latin typeface="Trebuchet MS"/>
                    <a:ea typeface="Meiryo UI"/>
                  </a:rPr>
                  <a:t>少ない</a:t>
                </a:r>
                <a:endParaRPr kumimoji="0" lang="en-US" sz="500" dirty="0">
                  <a:solidFill>
                    <a:srgbClr val="7F7F7F"/>
                  </a:solidFill>
                  <a:latin typeface="Trebuchet MS"/>
                  <a:ea typeface="Meiryo UI"/>
                </a:endParaRPr>
              </a:p>
            </p:txBody>
          </p:sp>
          <p:sp>
            <p:nvSpPr>
              <p:cNvPr id="83" name="Rectangle 258"/>
              <p:cNvSpPr/>
              <p:nvPr/>
            </p:nvSpPr>
            <p:spPr bwMode="auto">
              <a:xfrm>
                <a:off x="6030037" y="4988155"/>
                <a:ext cx="674739" cy="1126896"/>
              </a:xfrm>
              <a:prstGeom prst="rect">
                <a:avLst/>
              </a:prstGeom>
              <a:solidFill>
                <a:schemeClr val="accent4">
                  <a:lumMod val="20000"/>
                  <a:lumOff val="80000"/>
                </a:schemeClr>
              </a:solidFill>
              <a:ln w="9525" algn="ctr">
                <a:noFill/>
                <a:miter lim="800000"/>
                <a:headEnd/>
                <a:tailEnd/>
              </a:ln>
            </p:spPr>
            <p:txBody>
              <a:bodyPr wrap="none" lIns="36000" tIns="10800" rIns="36000" bIns="10800" rtlCol="0" anchor="ctr"/>
              <a:lstStyle/>
              <a:p>
                <a:pPr algn="ctr">
                  <a:buClr>
                    <a:srgbClr val="969696"/>
                  </a:buClr>
                  <a:buSzPct val="80000"/>
                  <a:defRPr/>
                </a:pPr>
                <a:endParaRPr kumimoji="0" lang="en-US" sz="500" dirty="0">
                  <a:solidFill>
                    <a:prstClr val="black"/>
                  </a:solidFill>
                  <a:latin typeface="Trebuchet MS"/>
                  <a:ea typeface="Meiryo UI"/>
                </a:endParaRPr>
              </a:p>
            </p:txBody>
          </p:sp>
          <p:sp>
            <p:nvSpPr>
              <p:cNvPr id="84" name="Rectangle 259"/>
              <p:cNvSpPr/>
              <p:nvPr/>
            </p:nvSpPr>
            <p:spPr bwMode="auto">
              <a:xfrm>
                <a:off x="6050114" y="5732048"/>
                <a:ext cx="634590" cy="356875"/>
              </a:xfrm>
              <a:prstGeom prst="rect">
                <a:avLst/>
              </a:prstGeom>
              <a:solidFill>
                <a:srgbClr val="FFFFFF"/>
              </a:solidFill>
              <a:ln w="9525" cap="flat" cmpd="sng" algn="ctr">
                <a:noFill/>
                <a:prstDash val="solid"/>
                <a:miter lim="800000"/>
                <a:headEnd type="none" w="med" len="med"/>
                <a:tailEnd type="none" w="med" len="med"/>
              </a:ln>
              <a:extLst>
                <a:ext uri="{91240B29-F687-4F45-9708-019B960494DF}">
                  <a14:hiddenLine xmlns:a14="http://schemas.microsoft.com/office/drawing/2010/main" w="9525" cap="flat" cmpd="sng" algn="ctr">
                    <a:solidFill>
                      <a:srgbClr val="9A9A9A"/>
                    </a:solidFill>
                    <a:prstDash val="solid"/>
                    <a:miter lim="800000"/>
                    <a:headEnd type="none" w="med" len="med"/>
                    <a:tailEnd type="none" w="med" len="med"/>
                  </a14:hiddenLine>
                </a:ext>
              </a:extLst>
            </p:spPr>
            <p:txBody>
              <a:bodyPr wrap="none" lIns="36000" tIns="10800" rIns="36000" bIns="10800" rtlCol="0" anchor="ctr"/>
              <a:lstStyle/>
              <a:p>
                <a:pPr marL="185738" indent="-185738" algn="ctr">
                  <a:buClr>
                    <a:srgbClr val="969696"/>
                  </a:buClr>
                  <a:buSzPct val="80000"/>
                  <a:defRPr/>
                </a:pPr>
                <a:endParaRPr kumimoji="0" lang="en-US" sz="1400" dirty="0">
                  <a:solidFill>
                    <a:prstClr val="black"/>
                  </a:solidFill>
                  <a:latin typeface="Meiryo UI"/>
                  <a:ea typeface="Meiryo UI"/>
                </a:endParaRPr>
              </a:p>
            </p:txBody>
          </p:sp>
          <p:sp>
            <p:nvSpPr>
              <p:cNvPr id="85" name="Rounded Rectangle 260"/>
              <p:cNvSpPr/>
              <p:nvPr/>
            </p:nvSpPr>
            <p:spPr bwMode="auto">
              <a:xfrm>
                <a:off x="6159442" y="5756612"/>
                <a:ext cx="495089" cy="58040"/>
              </a:xfrm>
              <a:prstGeom prst="roundRect">
                <a:avLst/>
              </a:prstGeom>
              <a:solidFill>
                <a:srgbClr val="30C1D7"/>
              </a:solidFill>
              <a:ln w="9525" algn="ctr">
                <a:noFill/>
                <a:miter lim="800000"/>
                <a:headEnd/>
                <a:tailEnd/>
              </a:ln>
            </p:spPr>
            <p:txBody>
              <a:bodyPr wrap="square" lIns="36000" tIns="10800" rIns="36000" bIns="10800" rtlCol="0" anchor="ctr"/>
              <a:lstStyle/>
              <a:p>
                <a:pPr marL="28575">
                  <a:buClr>
                    <a:srgbClr val="969696"/>
                  </a:buClr>
                  <a:buSzPct val="80000"/>
                  <a:defRPr/>
                </a:pPr>
                <a:r>
                  <a:rPr kumimoji="0" lang="ja-JP" altLang="en-US" sz="400" dirty="0">
                    <a:solidFill>
                      <a:srgbClr val="FFFFFF"/>
                    </a:solidFill>
                    <a:latin typeface="Meiryo UI"/>
                    <a:ea typeface="Meiryo UI"/>
                  </a:rPr>
                  <a:t>シェアサイクル</a:t>
                </a:r>
                <a:endParaRPr kumimoji="0" lang="en-US" sz="400" dirty="0">
                  <a:solidFill>
                    <a:srgbClr val="FFFFFF"/>
                  </a:solidFill>
                  <a:latin typeface="Meiryo UI"/>
                  <a:ea typeface="Meiryo UI"/>
                </a:endParaRPr>
              </a:p>
            </p:txBody>
          </p:sp>
          <p:grpSp>
            <p:nvGrpSpPr>
              <p:cNvPr id="86" name="Group 261"/>
              <p:cNvGrpSpPr/>
              <p:nvPr/>
            </p:nvGrpSpPr>
            <p:grpSpPr>
              <a:xfrm>
                <a:off x="6080288" y="5746534"/>
                <a:ext cx="120830" cy="104604"/>
                <a:chOff x="3492500" y="1587525"/>
                <a:chExt cx="728134" cy="728135"/>
              </a:xfrm>
            </p:grpSpPr>
            <p:sp>
              <p:nvSpPr>
                <p:cNvPr id="128" name="Oval 303"/>
                <p:cNvSpPr/>
                <p:nvPr/>
              </p:nvSpPr>
              <p:spPr bwMode="auto">
                <a:xfrm>
                  <a:off x="3492500" y="1587525"/>
                  <a:ext cx="728134" cy="728135"/>
                </a:xfrm>
                <a:prstGeom prst="ellipse">
                  <a:avLst/>
                </a:prstGeom>
                <a:solidFill>
                  <a:srgbClr val="30C1D7"/>
                </a:solidFill>
                <a:ln w="9525" algn="ctr">
                  <a:noFill/>
                  <a:miter lim="800000"/>
                  <a:headEnd/>
                  <a:tailEnd/>
                </a:ln>
              </p:spPr>
              <p:txBody>
                <a:bodyPr wrap="none" lIns="36000" tIns="10800" rIns="36000" bIns="10800" rtlCol="0" anchor="ctr"/>
                <a:lstStyle/>
                <a:p>
                  <a:pPr marL="185738" indent="-185738" algn="ctr">
                    <a:buClr>
                      <a:srgbClr val="969696"/>
                    </a:buClr>
                    <a:buSzPct val="80000"/>
                    <a:defRPr/>
                  </a:pPr>
                  <a:endParaRPr kumimoji="0" lang="en-US" sz="1400" dirty="0">
                    <a:solidFill>
                      <a:prstClr val="black"/>
                    </a:solidFill>
                    <a:latin typeface="Meiryo UI"/>
                    <a:ea typeface="Meiryo UI"/>
                  </a:endParaRPr>
                </a:p>
              </p:txBody>
            </p:sp>
            <p:pic>
              <p:nvPicPr>
                <p:cNvPr id="129" name="Picture 304"/>
                <p:cNvPicPr>
                  <a:picLocks noChangeAspect="1"/>
                </p:cNvPicPr>
                <p:nvPr/>
              </p:nvPicPr>
              <p:blipFill rotWithShape="1">
                <a:blip r:embed="rId9" cstate="print">
                  <a:biLevel thresh="25000"/>
                  <a:extLst>
                    <a:ext uri="{28A0092B-C50C-407E-A947-70E740481C1C}">
                      <a14:useLocalDpi xmlns:a14="http://schemas.microsoft.com/office/drawing/2010/main" val="0"/>
                    </a:ext>
                  </a:extLst>
                </a:blip>
                <a:srcRect t="32608" b="41643"/>
                <a:stretch/>
              </p:blipFill>
              <p:spPr>
                <a:xfrm>
                  <a:off x="3492500" y="1742277"/>
                  <a:ext cx="728134" cy="418631"/>
                </a:xfrm>
                <a:prstGeom prst="rect">
                  <a:avLst/>
                </a:prstGeom>
              </p:spPr>
            </p:pic>
          </p:grpSp>
          <p:sp>
            <p:nvSpPr>
              <p:cNvPr id="87" name="Rectangle 262"/>
              <p:cNvSpPr/>
              <p:nvPr/>
            </p:nvSpPr>
            <p:spPr bwMode="auto">
              <a:xfrm>
                <a:off x="6159439" y="5838107"/>
                <a:ext cx="495089" cy="58040"/>
              </a:xfrm>
              <a:prstGeom prst="rect">
                <a:avLst/>
              </a:prstGeom>
              <a:noFill/>
              <a:ln w="9525" algn="ctr">
                <a:noFill/>
                <a:miter lim="800000"/>
                <a:headEnd/>
                <a:tailEnd/>
              </a:ln>
              <a:extLst>
                <a:ext uri="{909E8E84-426E-40DD-AFC4-6F175D3DCCD1}">
                  <a14:hiddenFill xmlns:a14="http://schemas.microsoft.com/office/drawing/2010/main">
                    <a:solidFill>
                      <a:srgbClr val="6D2F9C"/>
                    </a:solidFill>
                  </a14:hiddenFill>
                </a:ext>
              </a:extLst>
            </p:spPr>
            <p:txBody>
              <a:bodyPr wrap="none" lIns="36000" tIns="10800" rIns="36000" bIns="10800" rtlCol="0" anchor="ctr"/>
              <a:lstStyle/>
              <a:p>
                <a:pPr marL="28575">
                  <a:buClr>
                    <a:srgbClr val="969696"/>
                  </a:buClr>
                  <a:buSzPct val="80000"/>
                  <a:defRPr/>
                </a:pPr>
                <a:r>
                  <a:rPr kumimoji="0" lang="en-US" altLang="ja-JP" sz="600" dirty="0">
                    <a:solidFill>
                      <a:srgbClr val="575757"/>
                    </a:solidFill>
                    <a:latin typeface="Trebuchet MS"/>
                    <a:ea typeface="Meiryo UI"/>
                  </a:rPr>
                  <a:t>15:00-15:35</a:t>
                </a:r>
                <a:endParaRPr kumimoji="0" lang="en-US" sz="600" dirty="0">
                  <a:solidFill>
                    <a:srgbClr val="575757"/>
                  </a:solidFill>
                  <a:latin typeface="Trebuchet MS"/>
                  <a:ea typeface="Meiryo UI"/>
                </a:endParaRPr>
              </a:p>
            </p:txBody>
          </p:sp>
          <p:pic>
            <p:nvPicPr>
              <p:cNvPr id="88" name="Picture 26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422534" y="5919449"/>
                <a:ext cx="79371" cy="60908"/>
              </a:xfrm>
              <a:prstGeom prst="rect">
                <a:avLst/>
              </a:prstGeom>
            </p:spPr>
          </p:pic>
          <p:pic>
            <p:nvPicPr>
              <p:cNvPr id="89" name="Picture 26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110083" y="5918389"/>
                <a:ext cx="44590" cy="63026"/>
              </a:xfrm>
              <a:prstGeom prst="rect">
                <a:avLst/>
              </a:prstGeom>
            </p:spPr>
          </p:pic>
          <p:sp>
            <p:nvSpPr>
              <p:cNvPr id="90" name="Chevron 265"/>
              <p:cNvSpPr/>
              <p:nvPr/>
            </p:nvSpPr>
            <p:spPr bwMode="auto">
              <a:xfrm>
                <a:off x="6175015" y="5924150"/>
                <a:ext cx="39388" cy="51507"/>
              </a:xfrm>
              <a:prstGeom prst="chevron">
                <a:avLst>
                  <a:gd name="adj" fmla="val 60417"/>
                </a:avLst>
              </a:prstGeom>
              <a:solidFill>
                <a:srgbClr val="9A9A9A"/>
              </a:solidFill>
              <a:ln w="9525" algn="ctr">
                <a:noFill/>
                <a:miter lim="800000"/>
                <a:headEnd/>
                <a:tailEnd/>
              </a:ln>
              <a:extLst>
                <a:ext uri="{91240B29-F687-4F45-9708-019B960494DF}">
                  <a14:hiddenLine xmlns:a14="http://schemas.microsoft.com/office/drawing/2010/main" w="9525" algn="ctr">
                    <a:solidFill>
                      <a:srgbClr val="E2E2E2"/>
                    </a:solidFill>
                    <a:miter lim="800000"/>
                    <a:headEnd/>
                    <a:tailEnd/>
                  </a14:hiddenLine>
                </a:ext>
              </a:extLst>
            </p:spPr>
            <p:txBody>
              <a:bodyPr wrap="none" lIns="36000" tIns="10800" rIns="36000" bIns="10800" rtlCol="0" anchor="ctr"/>
              <a:lstStyle/>
              <a:p>
                <a:pPr marL="185738" indent="-185738" algn="ctr">
                  <a:buClr>
                    <a:srgbClr val="969696"/>
                  </a:buClr>
                  <a:buSzPct val="80000"/>
                  <a:defRPr/>
                </a:pPr>
                <a:endParaRPr kumimoji="0" lang="en-US" sz="1400" dirty="0">
                  <a:solidFill>
                    <a:prstClr val="black"/>
                  </a:solidFill>
                  <a:latin typeface="Meiryo UI"/>
                  <a:ea typeface="Meiryo UI"/>
                </a:endParaRPr>
              </a:p>
            </p:txBody>
          </p:sp>
          <p:sp>
            <p:nvSpPr>
              <p:cNvPr id="91" name="Chevron 266"/>
              <p:cNvSpPr/>
              <p:nvPr/>
            </p:nvSpPr>
            <p:spPr bwMode="auto">
              <a:xfrm>
                <a:off x="6364645" y="5924150"/>
                <a:ext cx="39388" cy="51507"/>
              </a:xfrm>
              <a:prstGeom prst="chevron">
                <a:avLst>
                  <a:gd name="adj" fmla="val 60417"/>
                </a:avLst>
              </a:prstGeom>
              <a:solidFill>
                <a:srgbClr val="9A9A9A"/>
              </a:solidFill>
              <a:ln w="9525" algn="ctr">
                <a:noFill/>
                <a:miter lim="800000"/>
                <a:headEnd/>
                <a:tailEnd/>
              </a:ln>
              <a:extLst>
                <a:ext uri="{91240B29-F687-4F45-9708-019B960494DF}">
                  <a14:hiddenLine xmlns:a14="http://schemas.microsoft.com/office/drawing/2010/main" w="9525" algn="ctr">
                    <a:solidFill>
                      <a:srgbClr val="E2E2E2"/>
                    </a:solidFill>
                    <a:miter lim="800000"/>
                    <a:headEnd/>
                    <a:tailEnd/>
                  </a14:hiddenLine>
                </a:ext>
              </a:extLst>
            </p:spPr>
            <p:txBody>
              <a:bodyPr wrap="none" lIns="36000" tIns="10800" rIns="36000" bIns="10800" rtlCol="0" anchor="ctr"/>
              <a:lstStyle/>
              <a:p>
                <a:pPr marL="185738" indent="-185738" algn="ctr">
                  <a:buClr>
                    <a:srgbClr val="969696"/>
                  </a:buClr>
                  <a:buSzPct val="80000"/>
                  <a:defRPr/>
                </a:pPr>
                <a:endParaRPr kumimoji="0" lang="en-US" sz="1400" dirty="0">
                  <a:solidFill>
                    <a:prstClr val="black"/>
                  </a:solidFill>
                  <a:latin typeface="Meiryo UI"/>
                  <a:ea typeface="Meiryo UI"/>
                </a:endParaRPr>
              </a:p>
            </p:txBody>
          </p:sp>
          <p:sp>
            <p:nvSpPr>
              <p:cNvPr id="92" name="Chevron 267"/>
              <p:cNvSpPr/>
              <p:nvPr/>
            </p:nvSpPr>
            <p:spPr bwMode="auto">
              <a:xfrm>
                <a:off x="6520406" y="5924150"/>
                <a:ext cx="39388" cy="51507"/>
              </a:xfrm>
              <a:prstGeom prst="chevron">
                <a:avLst>
                  <a:gd name="adj" fmla="val 60417"/>
                </a:avLst>
              </a:prstGeom>
              <a:solidFill>
                <a:srgbClr val="9A9A9A"/>
              </a:solidFill>
              <a:ln w="9525" algn="ctr">
                <a:noFill/>
                <a:miter lim="800000"/>
                <a:headEnd/>
                <a:tailEnd/>
              </a:ln>
              <a:extLst>
                <a:ext uri="{91240B29-F687-4F45-9708-019B960494DF}">
                  <a14:hiddenLine xmlns:a14="http://schemas.microsoft.com/office/drawing/2010/main" w="9525" algn="ctr">
                    <a:solidFill>
                      <a:srgbClr val="E2E2E2"/>
                    </a:solidFill>
                    <a:miter lim="800000"/>
                    <a:headEnd/>
                    <a:tailEnd/>
                  </a14:hiddenLine>
                </a:ext>
              </a:extLst>
            </p:spPr>
            <p:txBody>
              <a:bodyPr wrap="none" lIns="36000" tIns="10800" rIns="36000" bIns="10800" rtlCol="0" anchor="ctr"/>
              <a:lstStyle/>
              <a:p>
                <a:pPr marL="185738" indent="-185738" algn="ctr">
                  <a:buClr>
                    <a:srgbClr val="969696"/>
                  </a:buClr>
                  <a:buSzPct val="80000"/>
                  <a:defRPr/>
                </a:pPr>
                <a:endParaRPr kumimoji="0" lang="en-US" sz="1400" dirty="0">
                  <a:solidFill>
                    <a:prstClr val="black"/>
                  </a:solidFill>
                  <a:latin typeface="Meiryo UI"/>
                  <a:ea typeface="Meiryo UI"/>
                </a:endParaRPr>
              </a:p>
            </p:txBody>
          </p:sp>
          <p:pic>
            <p:nvPicPr>
              <p:cNvPr id="93" name="Picture 26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580138" y="5918389"/>
                <a:ext cx="44590" cy="63026"/>
              </a:xfrm>
              <a:prstGeom prst="rect">
                <a:avLst/>
              </a:prstGeom>
            </p:spPr>
          </p:pic>
          <p:sp>
            <p:nvSpPr>
              <p:cNvPr id="94" name="Rectangle 269"/>
              <p:cNvSpPr/>
              <p:nvPr/>
            </p:nvSpPr>
            <p:spPr bwMode="auto">
              <a:xfrm>
                <a:off x="6050114" y="5998952"/>
                <a:ext cx="475012" cy="58040"/>
              </a:xfrm>
              <a:prstGeom prst="rect">
                <a:avLst/>
              </a:prstGeom>
              <a:noFill/>
              <a:ln w="9525" algn="ctr">
                <a:noFill/>
                <a:miter lim="800000"/>
                <a:headEnd/>
                <a:tailEnd/>
              </a:ln>
              <a:extLst>
                <a:ext uri="{909E8E84-426E-40DD-AFC4-6F175D3DCCD1}">
                  <a14:hiddenFill xmlns:a14="http://schemas.microsoft.com/office/drawing/2010/main">
                    <a:solidFill>
                      <a:srgbClr val="6D2F9C"/>
                    </a:solidFill>
                  </a14:hiddenFill>
                </a:ext>
              </a:extLst>
            </p:spPr>
            <p:txBody>
              <a:bodyPr wrap="none" lIns="36000" tIns="10800" rIns="36000" bIns="10800" rtlCol="0" anchor="ctr"/>
              <a:lstStyle/>
              <a:p>
                <a:pPr marL="28575">
                  <a:buClr>
                    <a:srgbClr val="969696"/>
                  </a:buClr>
                  <a:buSzPct val="80000"/>
                  <a:defRPr/>
                </a:pPr>
                <a:r>
                  <a:rPr kumimoji="0" lang="ja-JP" altLang="en-US" sz="500" dirty="0">
                    <a:solidFill>
                      <a:srgbClr val="575757"/>
                    </a:solidFill>
                    <a:latin typeface="Trebuchet MS"/>
                    <a:ea typeface="Meiryo UI"/>
                  </a:rPr>
                  <a:t>乗換</a:t>
                </a:r>
                <a:r>
                  <a:rPr kumimoji="0" lang="en-US" altLang="ja-JP" sz="500" dirty="0">
                    <a:solidFill>
                      <a:srgbClr val="575757"/>
                    </a:solidFill>
                    <a:latin typeface="Trebuchet MS"/>
                    <a:ea typeface="Meiryo UI"/>
                  </a:rPr>
                  <a:t>1</a:t>
                </a:r>
                <a:r>
                  <a:rPr kumimoji="0" lang="ja-JP" altLang="en-US" sz="500" dirty="0">
                    <a:solidFill>
                      <a:srgbClr val="575757"/>
                    </a:solidFill>
                    <a:latin typeface="Trebuchet MS"/>
                    <a:ea typeface="Meiryo UI"/>
                  </a:rPr>
                  <a:t>回</a:t>
                </a:r>
                <a:endParaRPr kumimoji="0" lang="en-US" sz="500" dirty="0">
                  <a:solidFill>
                    <a:srgbClr val="575757"/>
                  </a:solidFill>
                  <a:latin typeface="Trebuchet MS"/>
                  <a:ea typeface="Meiryo UI"/>
                </a:endParaRPr>
              </a:p>
            </p:txBody>
          </p:sp>
          <p:pic>
            <p:nvPicPr>
              <p:cNvPr id="95" name="Picture 270"/>
              <p:cNvPicPr>
                <a:picLocks noChangeAspect="1"/>
              </p:cNvPicPr>
              <p:nvPr/>
            </p:nvPicPr>
            <p:blipFill rotWithShape="1">
              <a:blip r:embed="rId9" cstate="print">
                <a:extLst>
                  <a:ext uri="{28A0092B-C50C-407E-A947-70E740481C1C}">
                    <a14:useLocalDpi xmlns:a14="http://schemas.microsoft.com/office/drawing/2010/main" val="0"/>
                  </a:ext>
                </a:extLst>
              </a:blip>
              <a:srcRect t="32608" b="41643"/>
              <a:stretch/>
            </p:blipFill>
            <p:spPr>
              <a:xfrm>
                <a:off x="6244597" y="5927048"/>
                <a:ext cx="105689" cy="52605"/>
              </a:xfrm>
              <a:prstGeom prst="rect">
                <a:avLst/>
              </a:prstGeom>
            </p:spPr>
          </p:pic>
          <p:sp>
            <p:nvSpPr>
              <p:cNvPr id="109" name="Rectangle 284"/>
              <p:cNvSpPr/>
              <p:nvPr/>
            </p:nvSpPr>
            <p:spPr bwMode="auto">
              <a:xfrm>
                <a:off x="6050110" y="5364029"/>
                <a:ext cx="634594" cy="345611"/>
              </a:xfrm>
              <a:prstGeom prst="rect">
                <a:avLst/>
              </a:prstGeom>
              <a:solidFill>
                <a:srgbClr val="FFFFFF"/>
              </a:solidFill>
              <a:ln w="9525" cap="flat" cmpd="sng" algn="ctr">
                <a:noFill/>
                <a:prstDash val="solid"/>
                <a:miter lim="800000"/>
                <a:headEnd type="none" w="med" len="med"/>
                <a:tailEnd type="none" w="med" len="med"/>
              </a:ln>
              <a:extLst>
                <a:ext uri="{91240B29-F687-4F45-9708-019B960494DF}">
                  <a14:hiddenLine xmlns:a14="http://schemas.microsoft.com/office/drawing/2010/main" w="9525" cap="flat" cmpd="sng" algn="ctr">
                    <a:solidFill>
                      <a:srgbClr val="9A9A9A"/>
                    </a:solidFill>
                    <a:prstDash val="solid"/>
                    <a:miter lim="800000"/>
                    <a:headEnd type="none" w="med" len="med"/>
                    <a:tailEnd type="none" w="med" len="med"/>
                  </a14:hiddenLine>
                </a:ext>
              </a:extLst>
            </p:spPr>
            <p:txBody>
              <a:bodyPr wrap="none" lIns="36000" tIns="10800" rIns="36000" bIns="10800" rtlCol="0" anchor="ctr"/>
              <a:lstStyle/>
              <a:p>
                <a:pPr marL="185738" indent="-185738" algn="r">
                  <a:buClr>
                    <a:srgbClr val="969696"/>
                  </a:buClr>
                  <a:buSzPct val="80000"/>
                  <a:defRPr/>
                </a:pPr>
                <a:endParaRPr kumimoji="0" lang="en-US" sz="1400" dirty="0">
                  <a:solidFill>
                    <a:prstClr val="black"/>
                  </a:solidFill>
                  <a:latin typeface="Meiryo UI"/>
                  <a:ea typeface="Meiryo UI"/>
                </a:endParaRPr>
              </a:p>
            </p:txBody>
          </p:sp>
          <p:sp>
            <p:nvSpPr>
              <p:cNvPr id="110" name="Rounded Rectangle 285"/>
              <p:cNvSpPr/>
              <p:nvPr/>
            </p:nvSpPr>
            <p:spPr bwMode="auto">
              <a:xfrm>
                <a:off x="6159438" y="5387963"/>
                <a:ext cx="495093" cy="56549"/>
              </a:xfrm>
              <a:prstGeom prst="roundRect">
                <a:avLst/>
              </a:prstGeom>
              <a:solidFill>
                <a:srgbClr val="6D2F9C"/>
              </a:solidFill>
              <a:ln w="9525" algn="ctr">
                <a:noFill/>
                <a:miter lim="800000"/>
                <a:headEnd/>
                <a:tailEnd/>
              </a:ln>
            </p:spPr>
            <p:txBody>
              <a:bodyPr wrap="square" lIns="36000" tIns="10800" rIns="36000" bIns="10800" rtlCol="0" anchor="ctr"/>
              <a:lstStyle/>
              <a:p>
                <a:pPr marL="28575">
                  <a:buClr>
                    <a:srgbClr val="969696"/>
                  </a:buClr>
                  <a:buSzPct val="80000"/>
                  <a:defRPr/>
                </a:pPr>
                <a:r>
                  <a:rPr kumimoji="0" lang="ja-JP" altLang="en-US" sz="400" dirty="0">
                    <a:solidFill>
                      <a:srgbClr val="FFFFFF"/>
                    </a:solidFill>
                    <a:latin typeface="Meiryo UI"/>
                    <a:ea typeface="Meiryo UI"/>
                  </a:rPr>
                  <a:t>オンデマンドバス</a:t>
                </a:r>
                <a:endParaRPr kumimoji="0" lang="en-US" sz="400" dirty="0">
                  <a:solidFill>
                    <a:srgbClr val="FFFFFF"/>
                  </a:solidFill>
                  <a:latin typeface="Meiryo UI"/>
                  <a:ea typeface="Meiryo UI"/>
                </a:endParaRPr>
              </a:p>
            </p:txBody>
          </p:sp>
          <p:grpSp>
            <p:nvGrpSpPr>
              <p:cNvPr id="111" name="Group 286"/>
              <p:cNvGrpSpPr/>
              <p:nvPr/>
            </p:nvGrpSpPr>
            <p:grpSpPr>
              <a:xfrm>
                <a:off x="6080285" y="5378142"/>
                <a:ext cx="120830" cy="104604"/>
                <a:chOff x="2204488" y="1587525"/>
                <a:chExt cx="728134" cy="728134"/>
              </a:xfrm>
            </p:grpSpPr>
            <p:sp>
              <p:nvSpPr>
                <p:cNvPr id="125" name="Oval 300"/>
                <p:cNvSpPr/>
                <p:nvPr/>
              </p:nvSpPr>
              <p:spPr bwMode="auto">
                <a:xfrm>
                  <a:off x="2204488" y="1587525"/>
                  <a:ext cx="728134" cy="728134"/>
                </a:xfrm>
                <a:prstGeom prst="ellipse">
                  <a:avLst/>
                </a:prstGeom>
                <a:solidFill>
                  <a:srgbClr val="6D2F9C"/>
                </a:solidFill>
                <a:ln w="9525" algn="ctr">
                  <a:noFill/>
                  <a:miter lim="800000"/>
                  <a:headEnd/>
                  <a:tailEnd/>
                </a:ln>
              </p:spPr>
              <p:txBody>
                <a:bodyPr wrap="none" lIns="36000" tIns="10800" rIns="36000" bIns="10800" rtlCol="0" anchor="ctr"/>
                <a:lstStyle/>
                <a:p>
                  <a:pPr marL="185738" indent="-185738" algn="ctr">
                    <a:buClr>
                      <a:srgbClr val="969696"/>
                    </a:buClr>
                    <a:buSzPct val="80000"/>
                    <a:defRPr/>
                  </a:pPr>
                  <a:endParaRPr kumimoji="0" lang="en-US" sz="1400" dirty="0">
                    <a:solidFill>
                      <a:prstClr val="black"/>
                    </a:solidFill>
                    <a:latin typeface="Meiryo UI"/>
                    <a:ea typeface="Meiryo UI"/>
                  </a:endParaRPr>
                </a:p>
              </p:txBody>
            </p:sp>
            <p:pic>
              <p:nvPicPr>
                <p:cNvPr id="126" name="Picture 301"/>
                <p:cNvPicPr>
                  <a:picLocks noChangeAspect="1"/>
                </p:cNvPicPr>
                <p:nvPr/>
              </p:nvPicPr>
              <p:blipFill rotWithShape="1">
                <a:blip r:embed="rId9" cstate="print">
                  <a:biLevel thresh="25000"/>
                  <a:extLst>
                    <a:ext uri="{28A0092B-C50C-407E-A947-70E740481C1C}">
                      <a14:useLocalDpi xmlns:a14="http://schemas.microsoft.com/office/drawing/2010/main" val="0"/>
                    </a:ext>
                  </a:extLst>
                </a:blip>
                <a:srcRect l="4383" r="4383" b="76479"/>
                <a:stretch/>
              </p:blipFill>
              <p:spPr>
                <a:xfrm>
                  <a:off x="2334296" y="1934633"/>
                  <a:ext cx="485450" cy="279450"/>
                </a:xfrm>
                <a:prstGeom prst="rect">
                  <a:avLst/>
                </a:prstGeom>
              </p:spPr>
            </p:pic>
            <p:sp>
              <p:nvSpPr>
                <p:cNvPr id="127" name="Freeform 302"/>
                <p:cNvSpPr>
                  <a:spLocks noEditPoints="1"/>
                </p:cNvSpPr>
                <p:nvPr/>
              </p:nvSpPr>
              <p:spPr bwMode="auto">
                <a:xfrm>
                  <a:off x="2356293" y="1662040"/>
                  <a:ext cx="331874" cy="238297"/>
                </a:xfrm>
                <a:custGeom>
                  <a:avLst/>
                  <a:gdLst>
                    <a:gd name="T0" fmla="*/ 447 w 894"/>
                    <a:gd name="T1" fmla="*/ 642 h 642"/>
                    <a:gd name="T2" fmla="*/ 360 w 894"/>
                    <a:gd name="T3" fmla="*/ 555 h 642"/>
                    <a:gd name="T4" fmla="*/ 447 w 894"/>
                    <a:gd name="T5" fmla="*/ 468 h 642"/>
                    <a:gd name="T6" fmla="*/ 534 w 894"/>
                    <a:gd name="T7" fmla="*/ 555 h 642"/>
                    <a:gd name="T8" fmla="*/ 447 w 894"/>
                    <a:gd name="T9" fmla="*/ 642 h 642"/>
                    <a:gd name="T10" fmla="*/ 636 w 894"/>
                    <a:gd name="T11" fmla="*/ 459 h 642"/>
                    <a:gd name="T12" fmla="*/ 642 w 894"/>
                    <a:gd name="T13" fmla="*/ 397 h 642"/>
                    <a:gd name="T14" fmla="*/ 447 w 894"/>
                    <a:gd name="T15" fmla="*/ 304 h 642"/>
                    <a:gd name="T16" fmla="*/ 252 w 894"/>
                    <a:gd name="T17" fmla="*/ 397 h 642"/>
                    <a:gd name="T18" fmla="*/ 258 w 894"/>
                    <a:gd name="T19" fmla="*/ 459 h 642"/>
                    <a:gd name="T20" fmla="*/ 320 w 894"/>
                    <a:gd name="T21" fmla="*/ 452 h 642"/>
                    <a:gd name="T22" fmla="*/ 447 w 894"/>
                    <a:gd name="T23" fmla="*/ 392 h 642"/>
                    <a:gd name="T24" fmla="*/ 574 w 894"/>
                    <a:gd name="T25" fmla="*/ 452 h 642"/>
                    <a:gd name="T26" fmla="*/ 608 w 894"/>
                    <a:gd name="T27" fmla="*/ 469 h 642"/>
                    <a:gd name="T28" fmla="*/ 636 w 894"/>
                    <a:gd name="T29" fmla="*/ 459 h 642"/>
                    <a:gd name="T30" fmla="*/ 749 w 894"/>
                    <a:gd name="T31" fmla="*/ 368 h 642"/>
                    <a:gd name="T32" fmla="*/ 755 w 894"/>
                    <a:gd name="T33" fmla="*/ 306 h 642"/>
                    <a:gd name="T34" fmla="*/ 447 w 894"/>
                    <a:gd name="T35" fmla="*/ 159 h 642"/>
                    <a:gd name="T36" fmla="*/ 139 w 894"/>
                    <a:gd name="T37" fmla="*/ 306 h 642"/>
                    <a:gd name="T38" fmla="*/ 145 w 894"/>
                    <a:gd name="T39" fmla="*/ 368 h 642"/>
                    <a:gd name="T40" fmla="*/ 207 w 894"/>
                    <a:gd name="T41" fmla="*/ 361 h 642"/>
                    <a:gd name="T42" fmla="*/ 447 w 894"/>
                    <a:gd name="T43" fmla="*/ 247 h 642"/>
                    <a:gd name="T44" fmla="*/ 687 w 894"/>
                    <a:gd name="T45" fmla="*/ 361 h 642"/>
                    <a:gd name="T46" fmla="*/ 721 w 894"/>
                    <a:gd name="T47" fmla="*/ 378 h 642"/>
                    <a:gd name="T48" fmla="*/ 749 w 894"/>
                    <a:gd name="T49" fmla="*/ 368 h 642"/>
                    <a:gd name="T50" fmla="*/ 872 w 894"/>
                    <a:gd name="T51" fmla="*/ 269 h 642"/>
                    <a:gd name="T52" fmla="*/ 879 w 894"/>
                    <a:gd name="T53" fmla="*/ 207 h 642"/>
                    <a:gd name="T54" fmla="*/ 447 w 894"/>
                    <a:gd name="T55" fmla="*/ 0 h 642"/>
                    <a:gd name="T56" fmla="*/ 15 w 894"/>
                    <a:gd name="T57" fmla="*/ 207 h 642"/>
                    <a:gd name="T58" fmla="*/ 22 w 894"/>
                    <a:gd name="T59" fmla="*/ 269 h 642"/>
                    <a:gd name="T60" fmla="*/ 84 w 894"/>
                    <a:gd name="T61" fmla="*/ 262 h 642"/>
                    <a:gd name="T62" fmla="*/ 447 w 894"/>
                    <a:gd name="T63" fmla="*/ 88 h 642"/>
                    <a:gd name="T64" fmla="*/ 810 w 894"/>
                    <a:gd name="T65" fmla="*/ 262 h 642"/>
                    <a:gd name="T66" fmla="*/ 844 w 894"/>
                    <a:gd name="T67" fmla="*/ 278 h 642"/>
                    <a:gd name="T68" fmla="*/ 872 w 894"/>
                    <a:gd name="T69" fmla="*/ 269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94" h="642">
                      <a:moveTo>
                        <a:pt x="447" y="642"/>
                      </a:moveTo>
                      <a:cubicBezTo>
                        <a:pt x="399" y="642"/>
                        <a:pt x="360" y="603"/>
                        <a:pt x="360" y="555"/>
                      </a:cubicBezTo>
                      <a:cubicBezTo>
                        <a:pt x="360" y="507"/>
                        <a:pt x="399" y="468"/>
                        <a:pt x="447" y="468"/>
                      </a:cubicBezTo>
                      <a:cubicBezTo>
                        <a:pt x="495" y="468"/>
                        <a:pt x="534" y="507"/>
                        <a:pt x="534" y="555"/>
                      </a:cubicBezTo>
                      <a:cubicBezTo>
                        <a:pt x="534" y="603"/>
                        <a:pt x="495" y="642"/>
                        <a:pt x="447" y="642"/>
                      </a:cubicBezTo>
                      <a:close/>
                      <a:moveTo>
                        <a:pt x="636" y="459"/>
                      </a:moveTo>
                      <a:cubicBezTo>
                        <a:pt x="655" y="444"/>
                        <a:pt x="658" y="416"/>
                        <a:pt x="642" y="397"/>
                      </a:cubicBezTo>
                      <a:cubicBezTo>
                        <a:pt x="594" y="338"/>
                        <a:pt x="523" y="304"/>
                        <a:pt x="447" y="304"/>
                      </a:cubicBezTo>
                      <a:cubicBezTo>
                        <a:pt x="371" y="304"/>
                        <a:pt x="300" y="338"/>
                        <a:pt x="252" y="397"/>
                      </a:cubicBezTo>
                      <a:cubicBezTo>
                        <a:pt x="236" y="416"/>
                        <a:pt x="239" y="444"/>
                        <a:pt x="258" y="459"/>
                      </a:cubicBezTo>
                      <a:cubicBezTo>
                        <a:pt x="277" y="474"/>
                        <a:pt x="305" y="471"/>
                        <a:pt x="320" y="452"/>
                      </a:cubicBezTo>
                      <a:cubicBezTo>
                        <a:pt x="351" y="414"/>
                        <a:pt x="398" y="392"/>
                        <a:pt x="447" y="392"/>
                      </a:cubicBezTo>
                      <a:cubicBezTo>
                        <a:pt x="496" y="392"/>
                        <a:pt x="543" y="414"/>
                        <a:pt x="574" y="452"/>
                      </a:cubicBezTo>
                      <a:cubicBezTo>
                        <a:pt x="583" y="463"/>
                        <a:pt x="595" y="469"/>
                        <a:pt x="608" y="469"/>
                      </a:cubicBezTo>
                      <a:cubicBezTo>
                        <a:pt x="618" y="469"/>
                        <a:pt x="628" y="466"/>
                        <a:pt x="636" y="459"/>
                      </a:cubicBezTo>
                      <a:close/>
                      <a:moveTo>
                        <a:pt x="749" y="368"/>
                      </a:moveTo>
                      <a:cubicBezTo>
                        <a:pt x="768" y="353"/>
                        <a:pt x="770" y="325"/>
                        <a:pt x="755" y="306"/>
                      </a:cubicBezTo>
                      <a:cubicBezTo>
                        <a:pt x="680" y="212"/>
                        <a:pt x="567" y="159"/>
                        <a:pt x="447" y="159"/>
                      </a:cubicBezTo>
                      <a:cubicBezTo>
                        <a:pt x="327" y="159"/>
                        <a:pt x="214" y="212"/>
                        <a:pt x="139" y="306"/>
                      </a:cubicBezTo>
                      <a:cubicBezTo>
                        <a:pt x="124" y="325"/>
                        <a:pt x="126" y="353"/>
                        <a:pt x="145" y="368"/>
                      </a:cubicBezTo>
                      <a:cubicBezTo>
                        <a:pt x="164" y="383"/>
                        <a:pt x="192" y="380"/>
                        <a:pt x="207" y="361"/>
                      </a:cubicBezTo>
                      <a:cubicBezTo>
                        <a:pt x="266" y="289"/>
                        <a:pt x="354" y="247"/>
                        <a:pt x="447" y="247"/>
                      </a:cubicBezTo>
                      <a:cubicBezTo>
                        <a:pt x="540" y="247"/>
                        <a:pt x="628" y="289"/>
                        <a:pt x="687" y="361"/>
                      </a:cubicBezTo>
                      <a:cubicBezTo>
                        <a:pt x="695" y="372"/>
                        <a:pt x="708" y="378"/>
                        <a:pt x="721" y="378"/>
                      </a:cubicBezTo>
                      <a:cubicBezTo>
                        <a:pt x="731" y="378"/>
                        <a:pt x="740" y="375"/>
                        <a:pt x="749" y="368"/>
                      </a:cubicBezTo>
                      <a:close/>
                      <a:moveTo>
                        <a:pt x="872" y="269"/>
                      </a:moveTo>
                      <a:cubicBezTo>
                        <a:pt x="891" y="253"/>
                        <a:pt x="894" y="226"/>
                        <a:pt x="879" y="207"/>
                      </a:cubicBezTo>
                      <a:cubicBezTo>
                        <a:pt x="773" y="76"/>
                        <a:pt x="615" y="0"/>
                        <a:pt x="447" y="0"/>
                      </a:cubicBezTo>
                      <a:cubicBezTo>
                        <a:pt x="279" y="0"/>
                        <a:pt x="121" y="76"/>
                        <a:pt x="15" y="207"/>
                      </a:cubicBezTo>
                      <a:cubicBezTo>
                        <a:pt x="0" y="226"/>
                        <a:pt x="3" y="253"/>
                        <a:pt x="22" y="269"/>
                      </a:cubicBezTo>
                      <a:cubicBezTo>
                        <a:pt x="41" y="284"/>
                        <a:pt x="69" y="281"/>
                        <a:pt x="84" y="262"/>
                      </a:cubicBezTo>
                      <a:cubicBezTo>
                        <a:pt x="173" y="152"/>
                        <a:pt x="305" y="88"/>
                        <a:pt x="447" y="88"/>
                      </a:cubicBezTo>
                      <a:cubicBezTo>
                        <a:pt x="589" y="88"/>
                        <a:pt x="721" y="152"/>
                        <a:pt x="810" y="262"/>
                      </a:cubicBezTo>
                      <a:cubicBezTo>
                        <a:pt x="819" y="273"/>
                        <a:pt x="832" y="278"/>
                        <a:pt x="844" y="278"/>
                      </a:cubicBezTo>
                      <a:cubicBezTo>
                        <a:pt x="854" y="278"/>
                        <a:pt x="864" y="275"/>
                        <a:pt x="872" y="269"/>
                      </a:cubicBezTo>
                      <a:close/>
                    </a:path>
                  </a:pathLst>
                </a:custGeom>
                <a:solidFill>
                  <a:srgbClr val="FFFFFF"/>
                </a:solidFill>
                <a:ln>
                  <a:noFill/>
                </a:ln>
              </p:spPr>
              <p:txBody>
                <a:bodyPr vert="horz" wrap="square" lIns="54864" tIns="27432" rIns="54864" bIns="27432" numCol="1" anchor="t" anchorCtr="0" compatLnSpc="1">
                  <a:prstTxWarp prst="textNoShape">
                    <a:avLst/>
                  </a:prstTxWarp>
                </a:bodyPr>
                <a:lstStyle/>
                <a:p>
                  <a:pPr>
                    <a:defRPr/>
                  </a:pPr>
                  <a:endParaRPr kumimoji="0" lang="en-US" dirty="0">
                    <a:solidFill>
                      <a:prstClr val="black"/>
                    </a:solidFill>
                    <a:latin typeface="Trebuchet MS"/>
                    <a:ea typeface="Meiryo UI"/>
                  </a:endParaRPr>
                </a:p>
              </p:txBody>
            </p:sp>
          </p:grpSp>
          <p:sp>
            <p:nvSpPr>
              <p:cNvPr id="112" name="Rectangle 287"/>
              <p:cNvSpPr/>
              <p:nvPr/>
            </p:nvSpPr>
            <p:spPr bwMode="auto">
              <a:xfrm>
                <a:off x="6159438" y="5463217"/>
                <a:ext cx="495093" cy="56549"/>
              </a:xfrm>
              <a:prstGeom prst="rect">
                <a:avLst/>
              </a:prstGeom>
              <a:noFill/>
              <a:ln w="9525" algn="ctr">
                <a:noFill/>
                <a:miter lim="800000"/>
                <a:headEnd/>
                <a:tailEnd/>
              </a:ln>
              <a:extLst>
                <a:ext uri="{909E8E84-426E-40DD-AFC4-6F175D3DCCD1}">
                  <a14:hiddenFill xmlns:a14="http://schemas.microsoft.com/office/drawing/2010/main">
                    <a:solidFill>
                      <a:srgbClr val="6D2F9C"/>
                    </a:solidFill>
                  </a14:hiddenFill>
                </a:ext>
              </a:extLst>
            </p:spPr>
            <p:txBody>
              <a:bodyPr wrap="none" lIns="36000" tIns="10800" rIns="36000" bIns="10800" rtlCol="0" anchor="ctr"/>
              <a:lstStyle/>
              <a:p>
                <a:pPr marL="28575">
                  <a:buClr>
                    <a:srgbClr val="969696"/>
                  </a:buClr>
                  <a:buSzPct val="80000"/>
                  <a:defRPr/>
                </a:pPr>
                <a:r>
                  <a:rPr kumimoji="0" lang="en-US" altLang="ja-JP" sz="600" dirty="0">
                    <a:solidFill>
                      <a:srgbClr val="575757"/>
                    </a:solidFill>
                    <a:latin typeface="Trebuchet MS"/>
                    <a:ea typeface="Meiryo UI"/>
                  </a:rPr>
                  <a:t>15:00-15:33</a:t>
                </a:r>
                <a:endParaRPr kumimoji="0" lang="en-US" sz="600" dirty="0">
                  <a:solidFill>
                    <a:srgbClr val="575757"/>
                  </a:solidFill>
                  <a:latin typeface="Trebuchet MS"/>
                  <a:ea typeface="Meiryo UI"/>
                </a:endParaRPr>
              </a:p>
            </p:txBody>
          </p:sp>
          <p:grpSp>
            <p:nvGrpSpPr>
              <p:cNvPr id="113" name="Group 288"/>
              <p:cNvGrpSpPr/>
              <p:nvPr/>
            </p:nvGrpSpPr>
            <p:grpSpPr>
              <a:xfrm>
                <a:off x="6110083" y="5536008"/>
                <a:ext cx="514649" cy="72266"/>
                <a:chOff x="9014631" y="4293256"/>
                <a:chExt cx="597375" cy="96904"/>
              </a:xfrm>
            </p:grpSpPr>
            <p:pic>
              <p:nvPicPr>
                <p:cNvPr id="116" name="Picture 29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377309" y="4301921"/>
                  <a:ext cx="92130" cy="79574"/>
                </a:xfrm>
                <a:prstGeom prst="rect">
                  <a:avLst/>
                </a:prstGeom>
              </p:spPr>
            </p:pic>
            <p:pic>
              <p:nvPicPr>
                <p:cNvPr id="117" name="Picture 29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014631" y="4300537"/>
                  <a:ext cx="51757" cy="82341"/>
                </a:xfrm>
                <a:prstGeom prst="rect">
                  <a:avLst/>
                </a:prstGeom>
              </p:spPr>
            </p:pic>
            <p:grpSp>
              <p:nvGrpSpPr>
                <p:cNvPr id="118" name="Group 293"/>
                <p:cNvGrpSpPr/>
                <p:nvPr/>
              </p:nvGrpSpPr>
              <p:grpSpPr>
                <a:xfrm>
                  <a:off x="9156240" y="4293256"/>
                  <a:ext cx="133356" cy="96904"/>
                  <a:chOff x="8078584" y="4110350"/>
                  <a:chExt cx="127165" cy="92407"/>
                </a:xfrm>
              </p:grpSpPr>
              <p:sp>
                <p:nvSpPr>
                  <p:cNvPr id="123" name="Freeform 298"/>
                  <p:cNvSpPr>
                    <a:spLocks noEditPoints="1"/>
                  </p:cNvSpPr>
                  <p:nvPr/>
                </p:nvSpPr>
                <p:spPr bwMode="auto">
                  <a:xfrm>
                    <a:off x="8078584" y="4110350"/>
                    <a:ext cx="63925" cy="45905"/>
                  </a:xfrm>
                  <a:custGeom>
                    <a:avLst/>
                    <a:gdLst>
                      <a:gd name="T0" fmla="*/ 447 w 894"/>
                      <a:gd name="T1" fmla="*/ 642 h 642"/>
                      <a:gd name="T2" fmla="*/ 360 w 894"/>
                      <a:gd name="T3" fmla="*/ 555 h 642"/>
                      <a:gd name="T4" fmla="*/ 447 w 894"/>
                      <a:gd name="T5" fmla="*/ 468 h 642"/>
                      <a:gd name="T6" fmla="*/ 534 w 894"/>
                      <a:gd name="T7" fmla="*/ 555 h 642"/>
                      <a:gd name="T8" fmla="*/ 447 w 894"/>
                      <a:gd name="T9" fmla="*/ 642 h 642"/>
                      <a:gd name="T10" fmla="*/ 636 w 894"/>
                      <a:gd name="T11" fmla="*/ 459 h 642"/>
                      <a:gd name="T12" fmla="*/ 642 w 894"/>
                      <a:gd name="T13" fmla="*/ 397 h 642"/>
                      <a:gd name="T14" fmla="*/ 447 w 894"/>
                      <a:gd name="T15" fmla="*/ 304 h 642"/>
                      <a:gd name="T16" fmla="*/ 252 w 894"/>
                      <a:gd name="T17" fmla="*/ 397 h 642"/>
                      <a:gd name="T18" fmla="*/ 258 w 894"/>
                      <a:gd name="T19" fmla="*/ 459 h 642"/>
                      <a:gd name="T20" fmla="*/ 320 w 894"/>
                      <a:gd name="T21" fmla="*/ 452 h 642"/>
                      <a:gd name="T22" fmla="*/ 447 w 894"/>
                      <a:gd name="T23" fmla="*/ 392 h 642"/>
                      <a:gd name="T24" fmla="*/ 574 w 894"/>
                      <a:gd name="T25" fmla="*/ 452 h 642"/>
                      <a:gd name="T26" fmla="*/ 608 w 894"/>
                      <a:gd name="T27" fmla="*/ 469 h 642"/>
                      <a:gd name="T28" fmla="*/ 636 w 894"/>
                      <a:gd name="T29" fmla="*/ 459 h 642"/>
                      <a:gd name="T30" fmla="*/ 749 w 894"/>
                      <a:gd name="T31" fmla="*/ 368 h 642"/>
                      <a:gd name="T32" fmla="*/ 755 w 894"/>
                      <a:gd name="T33" fmla="*/ 306 h 642"/>
                      <a:gd name="T34" fmla="*/ 447 w 894"/>
                      <a:gd name="T35" fmla="*/ 159 h 642"/>
                      <a:gd name="T36" fmla="*/ 139 w 894"/>
                      <a:gd name="T37" fmla="*/ 306 h 642"/>
                      <a:gd name="T38" fmla="*/ 145 w 894"/>
                      <a:gd name="T39" fmla="*/ 368 h 642"/>
                      <a:gd name="T40" fmla="*/ 207 w 894"/>
                      <a:gd name="T41" fmla="*/ 361 h 642"/>
                      <a:gd name="T42" fmla="*/ 447 w 894"/>
                      <a:gd name="T43" fmla="*/ 247 h 642"/>
                      <a:gd name="T44" fmla="*/ 687 w 894"/>
                      <a:gd name="T45" fmla="*/ 361 h 642"/>
                      <a:gd name="T46" fmla="*/ 721 w 894"/>
                      <a:gd name="T47" fmla="*/ 378 h 642"/>
                      <a:gd name="T48" fmla="*/ 749 w 894"/>
                      <a:gd name="T49" fmla="*/ 368 h 642"/>
                      <a:gd name="T50" fmla="*/ 872 w 894"/>
                      <a:gd name="T51" fmla="*/ 269 h 642"/>
                      <a:gd name="T52" fmla="*/ 879 w 894"/>
                      <a:gd name="T53" fmla="*/ 207 h 642"/>
                      <a:gd name="T54" fmla="*/ 447 w 894"/>
                      <a:gd name="T55" fmla="*/ 0 h 642"/>
                      <a:gd name="T56" fmla="*/ 15 w 894"/>
                      <a:gd name="T57" fmla="*/ 207 h 642"/>
                      <a:gd name="T58" fmla="*/ 22 w 894"/>
                      <a:gd name="T59" fmla="*/ 269 h 642"/>
                      <a:gd name="T60" fmla="*/ 84 w 894"/>
                      <a:gd name="T61" fmla="*/ 262 h 642"/>
                      <a:gd name="T62" fmla="*/ 447 w 894"/>
                      <a:gd name="T63" fmla="*/ 88 h 642"/>
                      <a:gd name="T64" fmla="*/ 810 w 894"/>
                      <a:gd name="T65" fmla="*/ 262 h 642"/>
                      <a:gd name="T66" fmla="*/ 844 w 894"/>
                      <a:gd name="T67" fmla="*/ 278 h 642"/>
                      <a:gd name="T68" fmla="*/ 872 w 894"/>
                      <a:gd name="T69" fmla="*/ 269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94" h="642">
                        <a:moveTo>
                          <a:pt x="447" y="642"/>
                        </a:moveTo>
                        <a:cubicBezTo>
                          <a:pt x="399" y="642"/>
                          <a:pt x="360" y="603"/>
                          <a:pt x="360" y="555"/>
                        </a:cubicBezTo>
                        <a:cubicBezTo>
                          <a:pt x="360" y="507"/>
                          <a:pt x="399" y="468"/>
                          <a:pt x="447" y="468"/>
                        </a:cubicBezTo>
                        <a:cubicBezTo>
                          <a:pt x="495" y="468"/>
                          <a:pt x="534" y="507"/>
                          <a:pt x="534" y="555"/>
                        </a:cubicBezTo>
                        <a:cubicBezTo>
                          <a:pt x="534" y="603"/>
                          <a:pt x="495" y="642"/>
                          <a:pt x="447" y="642"/>
                        </a:cubicBezTo>
                        <a:close/>
                        <a:moveTo>
                          <a:pt x="636" y="459"/>
                        </a:moveTo>
                        <a:cubicBezTo>
                          <a:pt x="655" y="444"/>
                          <a:pt x="658" y="416"/>
                          <a:pt x="642" y="397"/>
                        </a:cubicBezTo>
                        <a:cubicBezTo>
                          <a:pt x="594" y="338"/>
                          <a:pt x="523" y="304"/>
                          <a:pt x="447" y="304"/>
                        </a:cubicBezTo>
                        <a:cubicBezTo>
                          <a:pt x="371" y="304"/>
                          <a:pt x="300" y="338"/>
                          <a:pt x="252" y="397"/>
                        </a:cubicBezTo>
                        <a:cubicBezTo>
                          <a:pt x="236" y="416"/>
                          <a:pt x="239" y="444"/>
                          <a:pt x="258" y="459"/>
                        </a:cubicBezTo>
                        <a:cubicBezTo>
                          <a:pt x="277" y="474"/>
                          <a:pt x="305" y="471"/>
                          <a:pt x="320" y="452"/>
                        </a:cubicBezTo>
                        <a:cubicBezTo>
                          <a:pt x="351" y="414"/>
                          <a:pt x="398" y="392"/>
                          <a:pt x="447" y="392"/>
                        </a:cubicBezTo>
                        <a:cubicBezTo>
                          <a:pt x="496" y="392"/>
                          <a:pt x="543" y="414"/>
                          <a:pt x="574" y="452"/>
                        </a:cubicBezTo>
                        <a:cubicBezTo>
                          <a:pt x="583" y="463"/>
                          <a:pt x="595" y="469"/>
                          <a:pt x="608" y="469"/>
                        </a:cubicBezTo>
                        <a:cubicBezTo>
                          <a:pt x="618" y="469"/>
                          <a:pt x="628" y="466"/>
                          <a:pt x="636" y="459"/>
                        </a:cubicBezTo>
                        <a:close/>
                        <a:moveTo>
                          <a:pt x="749" y="368"/>
                        </a:moveTo>
                        <a:cubicBezTo>
                          <a:pt x="768" y="353"/>
                          <a:pt x="770" y="325"/>
                          <a:pt x="755" y="306"/>
                        </a:cubicBezTo>
                        <a:cubicBezTo>
                          <a:pt x="680" y="212"/>
                          <a:pt x="567" y="159"/>
                          <a:pt x="447" y="159"/>
                        </a:cubicBezTo>
                        <a:cubicBezTo>
                          <a:pt x="327" y="159"/>
                          <a:pt x="214" y="212"/>
                          <a:pt x="139" y="306"/>
                        </a:cubicBezTo>
                        <a:cubicBezTo>
                          <a:pt x="124" y="325"/>
                          <a:pt x="126" y="353"/>
                          <a:pt x="145" y="368"/>
                        </a:cubicBezTo>
                        <a:cubicBezTo>
                          <a:pt x="164" y="383"/>
                          <a:pt x="192" y="380"/>
                          <a:pt x="207" y="361"/>
                        </a:cubicBezTo>
                        <a:cubicBezTo>
                          <a:pt x="266" y="289"/>
                          <a:pt x="354" y="247"/>
                          <a:pt x="447" y="247"/>
                        </a:cubicBezTo>
                        <a:cubicBezTo>
                          <a:pt x="540" y="247"/>
                          <a:pt x="628" y="289"/>
                          <a:pt x="687" y="361"/>
                        </a:cubicBezTo>
                        <a:cubicBezTo>
                          <a:pt x="695" y="372"/>
                          <a:pt x="708" y="378"/>
                          <a:pt x="721" y="378"/>
                        </a:cubicBezTo>
                        <a:cubicBezTo>
                          <a:pt x="731" y="378"/>
                          <a:pt x="740" y="375"/>
                          <a:pt x="749" y="368"/>
                        </a:cubicBezTo>
                        <a:close/>
                        <a:moveTo>
                          <a:pt x="872" y="269"/>
                        </a:moveTo>
                        <a:cubicBezTo>
                          <a:pt x="891" y="253"/>
                          <a:pt x="894" y="226"/>
                          <a:pt x="879" y="207"/>
                        </a:cubicBezTo>
                        <a:cubicBezTo>
                          <a:pt x="773" y="76"/>
                          <a:pt x="615" y="0"/>
                          <a:pt x="447" y="0"/>
                        </a:cubicBezTo>
                        <a:cubicBezTo>
                          <a:pt x="279" y="0"/>
                          <a:pt x="121" y="76"/>
                          <a:pt x="15" y="207"/>
                        </a:cubicBezTo>
                        <a:cubicBezTo>
                          <a:pt x="0" y="226"/>
                          <a:pt x="3" y="253"/>
                          <a:pt x="22" y="269"/>
                        </a:cubicBezTo>
                        <a:cubicBezTo>
                          <a:pt x="41" y="284"/>
                          <a:pt x="69" y="281"/>
                          <a:pt x="84" y="262"/>
                        </a:cubicBezTo>
                        <a:cubicBezTo>
                          <a:pt x="173" y="152"/>
                          <a:pt x="305" y="88"/>
                          <a:pt x="447" y="88"/>
                        </a:cubicBezTo>
                        <a:cubicBezTo>
                          <a:pt x="589" y="88"/>
                          <a:pt x="721" y="152"/>
                          <a:pt x="810" y="262"/>
                        </a:cubicBezTo>
                        <a:cubicBezTo>
                          <a:pt x="819" y="273"/>
                          <a:pt x="832" y="278"/>
                          <a:pt x="844" y="278"/>
                        </a:cubicBezTo>
                        <a:cubicBezTo>
                          <a:pt x="854" y="278"/>
                          <a:pt x="864" y="275"/>
                          <a:pt x="872" y="269"/>
                        </a:cubicBezTo>
                        <a:close/>
                      </a:path>
                    </a:pathLst>
                  </a:custGeom>
                  <a:solidFill>
                    <a:srgbClr val="6E6F73"/>
                  </a:solidFill>
                  <a:ln>
                    <a:noFill/>
                  </a:ln>
                </p:spPr>
                <p:txBody>
                  <a:bodyPr vert="horz" wrap="square" lIns="54864" tIns="27432" rIns="54864" bIns="27432" numCol="1" anchor="t" anchorCtr="0" compatLnSpc="1">
                    <a:prstTxWarp prst="textNoShape">
                      <a:avLst/>
                    </a:prstTxWarp>
                  </a:bodyPr>
                  <a:lstStyle/>
                  <a:p>
                    <a:pPr>
                      <a:defRPr/>
                    </a:pPr>
                    <a:endParaRPr kumimoji="0" lang="en-US" dirty="0">
                      <a:solidFill>
                        <a:prstClr val="black"/>
                      </a:solidFill>
                      <a:latin typeface="Trebuchet MS"/>
                      <a:ea typeface="Meiryo UI"/>
                    </a:endParaRPr>
                  </a:p>
                </p:txBody>
              </p:sp>
              <p:pic>
                <p:nvPicPr>
                  <p:cNvPr id="124" name="Picture 299"/>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120087" y="4151313"/>
                    <a:ext cx="85662" cy="51444"/>
                  </a:xfrm>
                  <a:prstGeom prst="rect">
                    <a:avLst/>
                  </a:prstGeom>
                </p:spPr>
              </p:pic>
            </p:grpSp>
            <p:sp>
              <p:nvSpPr>
                <p:cNvPr id="119" name="Chevron 294"/>
                <p:cNvSpPr/>
                <p:nvPr/>
              </p:nvSpPr>
              <p:spPr bwMode="auto">
                <a:xfrm>
                  <a:off x="9090002" y="4308062"/>
                  <a:ext cx="45719" cy="67292"/>
                </a:xfrm>
                <a:prstGeom prst="chevron">
                  <a:avLst>
                    <a:gd name="adj" fmla="val 60417"/>
                  </a:avLst>
                </a:prstGeom>
                <a:solidFill>
                  <a:srgbClr val="9A9A9A"/>
                </a:solidFill>
                <a:ln w="9525" algn="ctr">
                  <a:noFill/>
                  <a:miter lim="800000"/>
                  <a:headEnd/>
                  <a:tailEnd/>
                </a:ln>
                <a:extLst>
                  <a:ext uri="{91240B29-F687-4F45-9708-019B960494DF}">
                    <a14:hiddenLine xmlns:a14="http://schemas.microsoft.com/office/drawing/2010/main" w="9525" algn="ctr">
                      <a:solidFill>
                        <a:srgbClr val="E2E2E2"/>
                      </a:solidFill>
                      <a:miter lim="800000"/>
                      <a:headEnd/>
                      <a:tailEnd/>
                    </a14:hiddenLine>
                  </a:ext>
                </a:extLst>
              </p:spPr>
              <p:txBody>
                <a:bodyPr wrap="none" lIns="36000" tIns="10800" rIns="36000" bIns="10800" rtlCol="0" anchor="ctr"/>
                <a:lstStyle/>
                <a:p>
                  <a:pPr marL="185738" indent="-185738" algn="ctr">
                    <a:buClr>
                      <a:srgbClr val="969696"/>
                    </a:buClr>
                    <a:buSzPct val="80000"/>
                    <a:defRPr/>
                  </a:pPr>
                  <a:endParaRPr kumimoji="0" lang="en-US" sz="1400" dirty="0">
                    <a:solidFill>
                      <a:prstClr val="black"/>
                    </a:solidFill>
                    <a:latin typeface="Meiryo UI"/>
                    <a:ea typeface="Meiryo UI"/>
                  </a:endParaRPr>
                </a:p>
              </p:txBody>
            </p:sp>
            <p:sp>
              <p:nvSpPr>
                <p:cNvPr id="120" name="Chevron 295"/>
                <p:cNvSpPr/>
                <p:nvPr/>
              </p:nvSpPr>
              <p:spPr bwMode="auto">
                <a:xfrm>
                  <a:off x="9310114" y="4308062"/>
                  <a:ext cx="45719" cy="67292"/>
                </a:xfrm>
                <a:prstGeom prst="chevron">
                  <a:avLst>
                    <a:gd name="adj" fmla="val 60417"/>
                  </a:avLst>
                </a:prstGeom>
                <a:solidFill>
                  <a:srgbClr val="9A9A9A"/>
                </a:solidFill>
                <a:ln w="9525" algn="ctr">
                  <a:noFill/>
                  <a:miter lim="800000"/>
                  <a:headEnd/>
                  <a:tailEnd/>
                </a:ln>
                <a:extLst>
                  <a:ext uri="{91240B29-F687-4F45-9708-019B960494DF}">
                    <a14:hiddenLine xmlns:a14="http://schemas.microsoft.com/office/drawing/2010/main" w="9525" algn="ctr">
                      <a:solidFill>
                        <a:srgbClr val="E2E2E2"/>
                      </a:solidFill>
                      <a:miter lim="800000"/>
                      <a:headEnd/>
                      <a:tailEnd/>
                    </a14:hiddenLine>
                  </a:ext>
                </a:extLst>
              </p:spPr>
              <p:txBody>
                <a:bodyPr wrap="none" lIns="36000" tIns="10800" rIns="36000" bIns="10800" rtlCol="0" anchor="ctr"/>
                <a:lstStyle/>
                <a:p>
                  <a:pPr marL="185738" indent="-185738" algn="ctr">
                    <a:buClr>
                      <a:srgbClr val="969696"/>
                    </a:buClr>
                    <a:buSzPct val="80000"/>
                    <a:defRPr/>
                  </a:pPr>
                  <a:endParaRPr kumimoji="0" lang="en-US" sz="1400" dirty="0">
                    <a:solidFill>
                      <a:prstClr val="black"/>
                    </a:solidFill>
                    <a:latin typeface="Meiryo UI"/>
                    <a:ea typeface="Meiryo UI"/>
                  </a:endParaRPr>
                </a:p>
              </p:txBody>
            </p:sp>
            <p:sp>
              <p:nvSpPr>
                <p:cNvPr id="121" name="Chevron 296"/>
                <p:cNvSpPr/>
                <p:nvPr/>
              </p:nvSpPr>
              <p:spPr bwMode="auto">
                <a:xfrm>
                  <a:off x="9490914" y="4308062"/>
                  <a:ext cx="45719" cy="67292"/>
                </a:xfrm>
                <a:prstGeom prst="chevron">
                  <a:avLst>
                    <a:gd name="adj" fmla="val 60417"/>
                  </a:avLst>
                </a:prstGeom>
                <a:solidFill>
                  <a:srgbClr val="9A9A9A"/>
                </a:solidFill>
                <a:ln w="9525" algn="ctr">
                  <a:noFill/>
                  <a:miter lim="800000"/>
                  <a:headEnd/>
                  <a:tailEnd/>
                </a:ln>
                <a:extLst>
                  <a:ext uri="{91240B29-F687-4F45-9708-019B960494DF}">
                    <a14:hiddenLine xmlns:a14="http://schemas.microsoft.com/office/drawing/2010/main" w="9525" algn="ctr">
                      <a:solidFill>
                        <a:srgbClr val="E2E2E2"/>
                      </a:solidFill>
                      <a:miter lim="800000"/>
                      <a:headEnd/>
                      <a:tailEnd/>
                    </a14:hiddenLine>
                  </a:ext>
                </a:extLst>
              </p:spPr>
              <p:txBody>
                <a:bodyPr wrap="none" lIns="36000" tIns="10800" rIns="36000" bIns="10800" rtlCol="0" anchor="ctr"/>
                <a:lstStyle/>
                <a:p>
                  <a:pPr marL="185738" indent="-185738" algn="ctr">
                    <a:buClr>
                      <a:srgbClr val="969696"/>
                    </a:buClr>
                    <a:buSzPct val="80000"/>
                    <a:defRPr/>
                  </a:pPr>
                  <a:endParaRPr kumimoji="0" lang="en-US" sz="1400" dirty="0">
                    <a:solidFill>
                      <a:prstClr val="black"/>
                    </a:solidFill>
                    <a:latin typeface="Meiryo UI"/>
                    <a:ea typeface="Meiryo UI"/>
                  </a:endParaRPr>
                </a:p>
              </p:txBody>
            </p:sp>
            <p:pic>
              <p:nvPicPr>
                <p:cNvPr id="122" name="Picture 29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560249" y="4300537"/>
                  <a:ext cx="51757" cy="82341"/>
                </a:xfrm>
                <a:prstGeom prst="rect">
                  <a:avLst/>
                </a:prstGeom>
              </p:spPr>
            </p:pic>
          </p:grpSp>
          <p:sp>
            <p:nvSpPr>
              <p:cNvPr id="114" name="Rectangle 289"/>
              <p:cNvSpPr/>
              <p:nvPr/>
            </p:nvSpPr>
            <p:spPr bwMode="auto">
              <a:xfrm>
                <a:off x="6050114" y="5619923"/>
                <a:ext cx="475016" cy="56549"/>
              </a:xfrm>
              <a:prstGeom prst="rect">
                <a:avLst/>
              </a:prstGeom>
              <a:noFill/>
              <a:ln w="9525" algn="ctr">
                <a:noFill/>
                <a:miter lim="800000"/>
                <a:headEnd/>
                <a:tailEnd/>
              </a:ln>
              <a:extLst>
                <a:ext uri="{909E8E84-426E-40DD-AFC4-6F175D3DCCD1}">
                  <a14:hiddenFill xmlns:a14="http://schemas.microsoft.com/office/drawing/2010/main">
                    <a:solidFill>
                      <a:srgbClr val="6D2F9C"/>
                    </a:solidFill>
                  </a14:hiddenFill>
                </a:ext>
              </a:extLst>
            </p:spPr>
            <p:txBody>
              <a:bodyPr wrap="none" lIns="36000" tIns="10800" rIns="36000" bIns="10800" rtlCol="0" anchor="ctr"/>
              <a:lstStyle/>
              <a:p>
                <a:pPr marL="28575">
                  <a:buClr>
                    <a:srgbClr val="969696"/>
                  </a:buClr>
                  <a:buSzPct val="80000"/>
                  <a:defRPr/>
                </a:pPr>
                <a:r>
                  <a:rPr kumimoji="0" lang="ja-JP" altLang="en-US" sz="500" dirty="0">
                    <a:solidFill>
                      <a:srgbClr val="575757"/>
                    </a:solidFill>
                    <a:latin typeface="Trebuchet MS"/>
                    <a:ea typeface="Meiryo UI"/>
                  </a:rPr>
                  <a:t>乗換</a:t>
                </a:r>
                <a:r>
                  <a:rPr kumimoji="0" lang="en-US" altLang="ja-JP" sz="500" dirty="0">
                    <a:solidFill>
                      <a:srgbClr val="575757"/>
                    </a:solidFill>
                    <a:latin typeface="Trebuchet MS"/>
                    <a:ea typeface="Meiryo UI"/>
                  </a:rPr>
                  <a:t>1</a:t>
                </a:r>
                <a:r>
                  <a:rPr kumimoji="0" lang="ja-JP" altLang="en-US" sz="500" dirty="0">
                    <a:solidFill>
                      <a:srgbClr val="575757"/>
                    </a:solidFill>
                    <a:latin typeface="Trebuchet MS"/>
                    <a:ea typeface="Meiryo UI"/>
                  </a:rPr>
                  <a:t>回</a:t>
                </a:r>
                <a:endParaRPr kumimoji="0" lang="en-US" sz="500" dirty="0">
                  <a:solidFill>
                    <a:srgbClr val="575757"/>
                  </a:solidFill>
                  <a:latin typeface="Trebuchet MS"/>
                  <a:ea typeface="Meiryo UI"/>
                </a:endParaRPr>
              </a:p>
            </p:txBody>
          </p:sp>
          <p:sp>
            <p:nvSpPr>
              <p:cNvPr id="115" name="Rectangle 290"/>
              <p:cNvSpPr/>
              <p:nvPr/>
            </p:nvSpPr>
            <p:spPr bwMode="auto">
              <a:xfrm>
                <a:off x="6421555" y="5619923"/>
                <a:ext cx="263149" cy="56549"/>
              </a:xfrm>
              <a:prstGeom prst="rect">
                <a:avLst/>
              </a:prstGeom>
              <a:noFill/>
              <a:ln w="9525" algn="ctr">
                <a:noFill/>
                <a:miter lim="800000"/>
                <a:headEnd/>
                <a:tailEnd/>
              </a:ln>
              <a:extLst>
                <a:ext uri="{909E8E84-426E-40DD-AFC4-6F175D3DCCD1}">
                  <a14:hiddenFill xmlns:a14="http://schemas.microsoft.com/office/drawing/2010/main">
                    <a:solidFill>
                      <a:srgbClr val="6D2F9C"/>
                    </a:solidFill>
                  </a14:hiddenFill>
                </a:ext>
              </a:extLst>
            </p:spPr>
            <p:txBody>
              <a:bodyPr wrap="none" lIns="36000" tIns="10800" rIns="36000" bIns="10800" rtlCol="0" anchor="ctr"/>
              <a:lstStyle/>
              <a:p>
                <a:pPr marL="28575" algn="r">
                  <a:buClr>
                    <a:srgbClr val="969696"/>
                  </a:buClr>
                  <a:buSzPct val="80000"/>
                  <a:defRPr/>
                </a:pPr>
                <a:r>
                  <a:rPr kumimoji="0" lang="en-US" altLang="ja-JP" sz="500" dirty="0">
                    <a:solidFill>
                      <a:srgbClr val="575757"/>
                    </a:solidFill>
                    <a:latin typeface="Meiryo UI"/>
                    <a:ea typeface="Meiryo UI"/>
                  </a:rPr>
                  <a:t>\xxx</a:t>
                </a:r>
                <a:endParaRPr kumimoji="0" lang="en-US" sz="500" dirty="0">
                  <a:solidFill>
                    <a:srgbClr val="575757"/>
                  </a:solidFill>
                  <a:latin typeface="Meiryo UI"/>
                  <a:ea typeface="Meiryo UI"/>
                </a:endParaRPr>
              </a:p>
            </p:txBody>
          </p:sp>
          <p:sp>
            <p:nvSpPr>
              <p:cNvPr id="97" name="Rectangle 272"/>
              <p:cNvSpPr/>
              <p:nvPr/>
            </p:nvSpPr>
            <p:spPr bwMode="auto">
              <a:xfrm>
                <a:off x="6421555" y="5998952"/>
                <a:ext cx="263149" cy="58040"/>
              </a:xfrm>
              <a:prstGeom prst="rect">
                <a:avLst/>
              </a:prstGeom>
              <a:noFill/>
              <a:ln w="9525" algn="ctr">
                <a:noFill/>
                <a:miter lim="800000"/>
                <a:headEnd/>
                <a:tailEnd/>
              </a:ln>
              <a:extLst>
                <a:ext uri="{909E8E84-426E-40DD-AFC4-6F175D3DCCD1}">
                  <a14:hiddenFill xmlns:a14="http://schemas.microsoft.com/office/drawing/2010/main">
                    <a:solidFill>
                      <a:srgbClr val="6D2F9C"/>
                    </a:solidFill>
                  </a14:hiddenFill>
                </a:ext>
              </a:extLst>
            </p:spPr>
            <p:txBody>
              <a:bodyPr wrap="none" lIns="36000" tIns="10800" rIns="36000" bIns="10800" rtlCol="0" anchor="ctr"/>
              <a:lstStyle/>
              <a:p>
                <a:pPr marL="28575" algn="r">
                  <a:buClr>
                    <a:srgbClr val="969696"/>
                  </a:buClr>
                  <a:buSzPct val="80000"/>
                  <a:defRPr/>
                </a:pPr>
                <a:r>
                  <a:rPr kumimoji="0" lang="en-US" altLang="ja-JP" sz="500" dirty="0">
                    <a:solidFill>
                      <a:srgbClr val="575757"/>
                    </a:solidFill>
                    <a:latin typeface="Meiryo UI"/>
                    <a:ea typeface="Meiryo UI"/>
                  </a:rPr>
                  <a:t>\xxx</a:t>
                </a:r>
              </a:p>
            </p:txBody>
          </p:sp>
          <p:sp>
            <p:nvSpPr>
              <p:cNvPr id="99" name="Rectangle 274"/>
              <p:cNvSpPr/>
              <p:nvPr/>
            </p:nvSpPr>
            <p:spPr bwMode="auto">
              <a:xfrm>
                <a:off x="6050110" y="5024592"/>
                <a:ext cx="634594" cy="319245"/>
              </a:xfrm>
              <a:prstGeom prst="rect">
                <a:avLst/>
              </a:prstGeom>
              <a:solidFill>
                <a:srgbClr val="FFFFFF"/>
              </a:solidFill>
              <a:ln w="9525" cap="flat" cmpd="sng" algn="ctr">
                <a:noFill/>
                <a:prstDash val="solid"/>
                <a:miter lim="800000"/>
                <a:headEnd type="none" w="med" len="med"/>
                <a:tailEnd type="none" w="med" len="med"/>
              </a:ln>
              <a:extLst>
                <a:ext uri="{91240B29-F687-4F45-9708-019B960494DF}">
                  <a14:hiddenLine xmlns:a14="http://schemas.microsoft.com/office/drawing/2010/main" w="9525" cap="flat" cmpd="sng" algn="ctr">
                    <a:solidFill>
                      <a:srgbClr val="9A9A9A"/>
                    </a:solidFill>
                    <a:prstDash val="solid"/>
                    <a:miter lim="800000"/>
                    <a:headEnd type="none" w="med" len="med"/>
                    <a:tailEnd type="none" w="med" len="med"/>
                  </a14:hiddenLine>
                </a:ext>
              </a:extLst>
            </p:spPr>
            <p:txBody>
              <a:bodyPr wrap="none" lIns="36000" tIns="10800" rIns="36000" bIns="10800" rtlCol="0" anchor="ctr"/>
              <a:lstStyle/>
              <a:p>
                <a:pPr marL="185738" indent="-185738" algn="ctr">
                  <a:buClr>
                    <a:srgbClr val="969696"/>
                  </a:buClr>
                  <a:buSzPct val="80000"/>
                  <a:defRPr/>
                </a:pPr>
                <a:endParaRPr kumimoji="0" lang="en-US" sz="1400" dirty="0">
                  <a:solidFill>
                    <a:prstClr val="black"/>
                  </a:solidFill>
                  <a:latin typeface="Meiryo UI"/>
                  <a:ea typeface="Meiryo UI"/>
                </a:endParaRPr>
              </a:p>
            </p:txBody>
          </p:sp>
          <p:sp>
            <p:nvSpPr>
              <p:cNvPr id="100" name="Rounded Rectangle 275"/>
              <p:cNvSpPr/>
              <p:nvPr/>
            </p:nvSpPr>
            <p:spPr bwMode="auto">
              <a:xfrm>
                <a:off x="6159438" y="5048526"/>
                <a:ext cx="495093" cy="56549"/>
              </a:xfrm>
              <a:prstGeom prst="roundRect">
                <a:avLst/>
              </a:prstGeom>
              <a:solidFill>
                <a:srgbClr val="29BA74"/>
              </a:solidFill>
              <a:ln w="9525" algn="ctr">
                <a:noFill/>
                <a:miter lim="800000"/>
                <a:headEnd/>
                <a:tailEnd/>
              </a:ln>
            </p:spPr>
            <p:txBody>
              <a:bodyPr wrap="square" lIns="36000" tIns="10800" rIns="36000" bIns="10800" rtlCol="0" anchor="ctr"/>
              <a:lstStyle/>
              <a:p>
                <a:pPr marL="28575">
                  <a:buClr>
                    <a:srgbClr val="969696"/>
                  </a:buClr>
                  <a:buSzPct val="80000"/>
                  <a:defRPr/>
                </a:pPr>
                <a:r>
                  <a:rPr kumimoji="0" lang="ja-JP" altLang="en-US" sz="400" dirty="0">
                    <a:solidFill>
                      <a:srgbClr val="FFFFFF"/>
                    </a:solidFill>
                    <a:latin typeface="Meiryo UI"/>
                    <a:ea typeface="Meiryo UI"/>
                  </a:rPr>
                  <a:t>タクシー</a:t>
                </a:r>
                <a:endParaRPr kumimoji="0" lang="en-US" sz="400" dirty="0">
                  <a:solidFill>
                    <a:srgbClr val="FFFFFF"/>
                  </a:solidFill>
                  <a:latin typeface="Meiryo UI"/>
                  <a:ea typeface="Meiryo UI"/>
                </a:endParaRPr>
              </a:p>
            </p:txBody>
          </p:sp>
          <p:sp>
            <p:nvSpPr>
              <p:cNvPr id="101" name="Oval 276"/>
              <p:cNvSpPr/>
              <p:nvPr/>
            </p:nvSpPr>
            <p:spPr bwMode="auto">
              <a:xfrm>
                <a:off x="6080285" y="5038706"/>
                <a:ext cx="120830" cy="104604"/>
              </a:xfrm>
              <a:prstGeom prst="ellipse">
                <a:avLst/>
              </a:prstGeom>
              <a:solidFill>
                <a:srgbClr val="29BA74"/>
              </a:solidFill>
              <a:ln w="9525" algn="ctr">
                <a:noFill/>
                <a:miter lim="800000"/>
                <a:headEnd/>
                <a:tailEnd/>
              </a:ln>
            </p:spPr>
            <p:txBody>
              <a:bodyPr wrap="none" lIns="36000" tIns="10800" rIns="36000" bIns="10800" rtlCol="0" anchor="ctr"/>
              <a:lstStyle/>
              <a:p>
                <a:pPr marL="185738" indent="-185738" algn="ctr">
                  <a:buClr>
                    <a:srgbClr val="969696"/>
                  </a:buClr>
                  <a:buSzPct val="80000"/>
                  <a:defRPr/>
                </a:pPr>
                <a:endParaRPr kumimoji="0" lang="en-US" sz="1400" dirty="0">
                  <a:solidFill>
                    <a:prstClr val="black"/>
                  </a:solidFill>
                  <a:latin typeface="Meiryo UI"/>
                  <a:ea typeface="Meiryo UI"/>
                </a:endParaRPr>
              </a:p>
            </p:txBody>
          </p:sp>
          <p:pic>
            <p:nvPicPr>
              <p:cNvPr id="102" name="Picture 277"/>
              <p:cNvPicPr>
                <a:picLocks noChangeAspect="1"/>
              </p:cNvPicPr>
              <p:nvPr/>
            </p:nvPicPr>
            <p:blipFill>
              <a:blip r:embed="rId13" cstate="print">
                <a:biLevel thresh="25000"/>
                <a:extLst>
                  <a:ext uri="{28A0092B-C50C-407E-A947-70E740481C1C}">
                    <a14:useLocalDpi xmlns:a14="http://schemas.microsoft.com/office/drawing/2010/main" val="0"/>
                  </a:ext>
                </a:extLst>
              </a:blip>
              <a:stretch>
                <a:fillRect/>
              </a:stretch>
            </p:blipFill>
            <p:spPr>
              <a:xfrm>
                <a:off x="6092686" y="5064608"/>
                <a:ext cx="96026" cy="52801"/>
              </a:xfrm>
              <a:prstGeom prst="rect">
                <a:avLst/>
              </a:prstGeom>
            </p:spPr>
          </p:pic>
          <p:sp>
            <p:nvSpPr>
              <p:cNvPr id="103" name="Rectangle 278"/>
              <p:cNvSpPr/>
              <p:nvPr/>
            </p:nvSpPr>
            <p:spPr bwMode="auto">
              <a:xfrm>
                <a:off x="6159438" y="5119018"/>
                <a:ext cx="495093" cy="56549"/>
              </a:xfrm>
              <a:prstGeom prst="rect">
                <a:avLst/>
              </a:prstGeom>
              <a:noFill/>
              <a:ln w="9525" algn="ctr">
                <a:noFill/>
                <a:miter lim="800000"/>
                <a:headEnd/>
                <a:tailEnd/>
              </a:ln>
              <a:extLst>
                <a:ext uri="{909E8E84-426E-40DD-AFC4-6F175D3DCCD1}">
                  <a14:hiddenFill xmlns:a14="http://schemas.microsoft.com/office/drawing/2010/main">
                    <a:solidFill>
                      <a:srgbClr val="6D2F9C"/>
                    </a:solidFill>
                  </a14:hiddenFill>
                </a:ext>
              </a:extLst>
            </p:spPr>
            <p:txBody>
              <a:bodyPr wrap="none" lIns="36000" tIns="10800" rIns="36000" bIns="10800" rtlCol="0" anchor="ctr"/>
              <a:lstStyle/>
              <a:p>
                <a:pPr marL="28575">
                  <a:buClr>
                    <a:srgbClr val="969696"/>
                  </a:buClr>
                  <a:buSzPct val="80000"/>
                  <a:defRPr/>
                </a:pPr>
                <a:r>
                  <a:rPr kumimoji="0" lang="en-US" altLang="ja-JP" sz="600" dirty="0">
                    <a:solidFill>
                      <a:srgbClr val="575757"/>
                    </a:solidFill>
                    <a:latin typeface="Trebuchet MS"/>
                    <a:ea typeface="Meiryo UI"/>
                  </a:rPr>
                  <a:t>15:00-15:21</a:t>
                </a:r>
                <a:endParaRPr kumimoji="0" lang="en-US" sz="600" dirty="0">
                  <a:solidFill>
                    <a:srgbClr val="575757"/>
                  </a:solidFill>
                  <a:latin typeface="Trebuchet MS"/>
                  <a:ea typeface="Meiryo UI"/>
                </a:endParaRPr>
              </a:p>
            </p:txBody>
          </p:sp>
          <p:pic>
            <p:nvPicPr>
              <p:cNvPr id="104" name="Picture 279"/>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100510" y="5197239"/>
                <a:ext cx="96026" cy="52801"/>
              </a:xfrm>
              <a:prstGeom prst="rect">
                <a:avLst/>
              </a:prstGeom>
            </p:spPr>
          </p:pic>
          <p:sp>
            <p:nvSpPr>
              <p:cNvPr id="105" name="Chevron 280"/>
              <p:cNvSpPr/>
              <p:nvPr/>
            </p:nvSpPr>
            <p:spPr bwMode="auto">
              <a:xfrm>
                <a:off x="6209208" y="5202851"/>
                <a:ext cx="39388" cy="50183"/>
              </a:xfrm>
              <a:prstGeom prst="chevron">
                <a:avLst>
                  <a:gd name="adj" fmla="val 60417"/>
                </a:avLst>
              </a:prstGeom>
              <a:solidFill>
                <a:srgbClr val="9A9A9A"/>
              </a:solidFill>
              <a:ln w="9525" algn="ctr">
                <a:noFill/>
                <a:miter lim="800000"/>
                <a:headEnd/>
                <a:tailEnd/>
              </a:ln>
              <a:extLst>
                <a:ext uri="{91240B29-F687-4F45-9708-019B960494DF}">
                  <a14:hiddenLine xmlns:a14="http://schemas.microsoft.com/office/drawing/2010/main" w="9525" algn="ctr">
                    <a:solidFill>
                      <a:srgbClr val="E2E2E2"/>
                    </a:solidFill>
                    <a:miter lim="800000"/>
                    <a:headEnd/>
                    <a:tailEnd/>
                  </a14:hiddenLine>
                </a:ext>
              </a:extLst>
            </p:spPr>
            <p:txBody>
              <a:bodyPr wrap="none" lIns="36000" tIns="10800" rIns="36000" bIns="10800" rtlCol="0" anchor="ctr"/>
              <a:lstStyle/>
              <a:p>
                <a:pPr marL="185738" indent="-185738" algn="ctr">
                  <a:buClr>
                    <a:srgbClr val="969696"/>
                  </a:buClr>
                  <a:buSzPct val="80000"/>
                  <a:defRPr/>
                </a:pPr>
                <a:endParaRPr kumimoji="0" lang="en-US" sz="1400" dirty="0">
                  <a:solidFill>
                    <a:prstClr val="black"/>
                  </a:solidFill>
                  <a:latin typeface="Meiryo UI"/>
                  <a:ea typeface="Meiryo UI"/>
                </a:endParaRPr>
              </a:p>
            </p:txBody>
          </p:sp>
          <p:sp>
            <p:nvSpPr>
              <p:cNvPr id="106" name="Rectangle 281"/>
              <p:cNvSpPr/>
              <p:nvPr/>
            </p:nvSpPr>
            <p:spPr bwMode="auto">
              <a:xfrm>
                <a:off x="6050114" y="5275724"/>
                <a:ext cx="475016" cy="56549"/>
              </a:xfrm>
              <a:prstGeom prst="rect">
                <a:avLst/>
              </a:prstGeom>
              <a:noFill/>
              <a:ln w="9525" algn="ctr">
                <a:noFill/>
                <a:miter lim="800000"/>
                <a:headEnd/>
                <a:tailEnd/>
              </a:ln>
              <a:extLst>
                <a:ext uri="{909E8E84-426E-40DD-AFC4-6F175D3DCCD1}">
                  <a14:hiddenFill xmlns:a14="http://schemas.microsoft.com/office/drawing/2010/main">
                    <a:solidFill>
                      <a:srgbClr val="6D2F9C"/>
                    </a:solidFill>
                  </a14:hiddenFill>
                </a:ext>
              </a:extLst>
            </p:spPr>
            <p:txBody>
              <a:bodyPr wrap="none" lIns="36000" tIns="10800" rIns="36000" bIns="10800" rtlCol="0" anchor="ctr"/>
              <a:lstStyle/>
              <a:p>
                <a:pPr marL="28575">
                  <a:buClr>
                    <a:srgbClr val="969696"/>
                  </a:buClr>
                  <a:buSzPct val="80000"/>
                  <a:defRPr/>
                </a:pPr>
                <a:r>
                  <a:rPr kumimoji="0" lang="ja-JP" altLang="en-US" sz="500" dirty="0">
                    <a:solidFill>
                      <a:srgbClr val="575757"/>
                    </a:solidFill>
                    <a:latin typeface="Trebuchet MS"/>
                    <a:ea typeface="Meiryo UI"/>
                  </a:rPr>
                  <a:t>乗換なし</a:t>
                </a:r>
                <a:endParaRPr kumimoji="0" lang="en-US" sz="500" dirty="0">
                  <a:solidFill>
                    <a:srgbClr val="575757"/>
                  </a:solidFill>
                  <a:latin typeface="Trebuchet MS"/>
                  <a:ea typeface="Meiryo UI"/>
                </a:endParaRPr>
              </a:p>
            </p:txBody>
          </p:sp>
          <p:pic>
            <p:nvPicPr>
              <p:cNvPr id="107" name="Picture 28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267805" y="5194914"/>
                <a:ext cx="44590" cy="61406"/>
              </a:xfrm>
              <a:prstGeom prst="rect">
                <a:avLst/>
              </a:prstGeom>
            </p:spPr>
          </p:pic>
          <p:sp>
            <p:nvSpPr>
              <p:cNvPr id="108" name="Rectangle 283"/>
              <p:cNvSpPr/>
              <p:nvPr/>
            </p:nvSpPr>
            <p:spPr bwMode="auto">
              <a:xfrm>
                <a:off x="6421555" y="5275724"/>
                <a:ext cx="263149" cy="56549"/>
              </a:xfrm>
              <a:prstGeom prst="rect">
                <a:avLst/>
              </a:prstGeom>
              <a:noFill/>
              <a:ln w="9525" algn="ctr">
                <a:noFill/>
                <a:miter lim="800000"/>
                <a:headEnd/>
                <a:tailEnd/>
              </a:ln>
              <a:extLst>
                <a:ext uri="{909E8E84-426E-40DD-AFC4-6F175D3DCCD1}">
                  <a14:hiddenFill xmlns:a14="http://schemas.microsoft.com/office/drawing/2010/main">
                    <a:solidFill>
                      <a:srgbClr val="6D2F9C"/>
                    </a:solidFill>
                  </a14:hiddenFill>
                </a:ext>
              </a:extLst>
            </p:spPr>
            <p:txBody>
              <a:bodyPr wrap="none" lIns="36000" tIns="10800" rIns="36000" bIns="10800" rtlCol="0" anchor="ctr"/>
              <a:lstStyle/>
              <a:p>
                <a:pPr marL="28575" algn="r">
                  <a:buClr>
                    <a:srgbClr val="969696"/>
                  </a:buClr>
                  <a:buSzPct val="80000"/>
                  <a:defRPr/>
                </a:pPr>
                <a:r>
                  <a:rPr kumimoji="0" lang="en-US" altLang="ja-JP" sz="500" dirty="0">
                    <a:solidFill>
                      <a:srgbClr val="575757"/>
                    </a:solidFill>
                    <a:latin typeface="Meiryo UI"/>
                    <a:ea typeface="Meiryo UI"/>
                  </a:rPr>
                  <a:t>\xxx</a:t>
                </a:r>
              </a:p>
            </p:txBody>
          </p:sp>
        </p:grpSp>
      </p:grpSp>
      <p:sp>
        <p:nvSpPr>
          <p:cNvPr id="16" name="二等辺三角形 15"/>
          <p:cNvSpPr/>
          <p:nvPr/>
        </p:nvSpPr>
        <p:spPr>
          <a:xfrm rot="5400000">
            <a:off x="6496936" y="3823056"/>
            <a:ext cx="1483188" cy="456260"/>
          </a:xfrm>
          <a:prstGeom prs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7" name="右矢印 136"/>
          <p:cNvSpPr/>
          <p:nvPr/>
        </p:nvSpPr>
        <p:spPr>
          <a:xfrm rot="5400000">
            <a:off x="9347590" y="3842439"/>
            <a:ext cx="304849" cy="1078276"/>
          </a:xfrm>
          <a:prstGeom prst="rightArrow">
            <a:avLst>
              <a:gd name="adj1" fmla="val 48314"/>
              <a:gd name="adj2" fmla="val 49999"/>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18774673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角丸四角形 60"/>
          <p:cNvSpPr/>
          <p:nvPr/>
        </p:nvSpPr>
        <p:spPr>
          <a:xfrm>
            <a:off x="641350" y="3492174"/>
            <a:ext cx="10918825" cy="2727651"/>
          </a:xfrm>
          <a:prstGeom prst="roundRect">
            <a:avLst>
              <a:gd name="adj" fmla="val 7754"/>
            </a:avLst>
          </a:prstGeom>
          <a:solidFill>
            <a:srgbClr val="B5B5E5"/>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eiryo UI" panose="020B0604030504040204" pitchFamily="50" charset="-128"/>
              <a:ea typeface="Meiryo UI" panose="020B0604030504040204" pitchFamily="50" charset="-128"/>
            </a:endParaRPr>
          </a:p>
        </p:txBody>
      </p:sp>
      <p:sp>
        <p:nvSpPr>
          <p:cNvPr id="63" name="フリーフォーム 62"/>
          <p:cNvSpPr/>
          <p:nvPr/>
        </p:nvSpPr>
        <p:spPr bwMode="gray">
          <a:xfrm rot="10800000">
            <a:off x="677926" y="1603422"/>
            <a:ext cx="10843514" cy="2083217"/>
          </a:xfrm>
          <a:custGeom>
            <a:avLst/>
            <a:gdLst>
              <a:gd name="connsiteX0" fmla="*/ 10727078 w 10918825"/>
              <a:gd name="connsiteY0" fmla="*/ 2083217 h 2083217"/>
              <a:gd name="connsiteX1" fmla="*/ 191747 w 10918825"/>
              <a:gd name="connsiteY1" fmla="*/ 2083217 h 2083217"/>
              <a:gd name="connsiteX2" fmla="*/ 0 w 10918825"/>
              <a:gd name="connsiteY2" fmla="*/ 1891470 h 2083217"/>
              <a:gd name="connsiteX3" fmla="*/ 0 w 10918825"/>
              <a:gd name="connsiteY3" fmla="*/ 484444 h 2083217"/>
              <a:gd name="connsiteX4" fmla="*/ 191747 w 10918825"/>
              <a:gd name="connsiteY4" fmla="*/ 292697 h 2083217"/>
              <a:gd name="connsiteX5" fmla="*/ 4772602 w 10918825"/>
              <a:gd name="connsiteY5" fmla="*/ 292697 h 2083217"/>
              <a:gd name="connsiteX6" fmla="*/ 5464175 w 10918825"/>
              <a:gd name="connsiteY6" fmla="*/ 0 h 2083217"/>
              <a:gd name="connsiteX7" fmla="*/ 6155747 w 10918825"/>
              <a:gd name="connsiteY7" fmla="*/ 292697 h 2083217"/>
              <a:gd name="connsiteX8" fmla="*/ 10727078 w 10918825"/>
              <a:gd name="connsiteY8" fmla="*/ 292697 h 2083217"/>
              <a:gd name="connsiteX9" fmla="*/ 10918825 w 10918825"/>
              <a:gd name="connsiteY9" fmla="*/ 484444 h 2083217"/>
              <a:gd name="connsiteX10" fmla="*/ 10918825 w 10918825"/>
              <a:gd name="connsiteY10" fmla="*/ 1891470 h 2083217"/>
              <a:gd name="connsiteX11" fmla="*/ 10727078 w 10918825"/>
              <a:gd name="connsiteY11" fmla="*/ 2083217 h 2083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918825" h="2083217">
                <a:moveTo>
                  <a:pt x="10727078" y="2083217"/>
                </a:moveTo>
                <a:lnTo>
                  <a:pt x="191747" y="2083217"/>
                </a:lnTo>
                <a:cubicBezTo>
                  <a:pt x="85848" y="2083217"/>
                  <a:pt x="0" y="1997369"/>
                  <a:pt x="0" y="1891470"/>
                </a:cubicBezTo>
                <a:lnTo>
                  <a:pt x="0" y="484444"/>
                </a:lnTo>
                <a:cubicBezTo>
                  <a:pt x="0" y="378545"/>
                  <a:pt x="85848" y="292697"/>
                  <a:pt x="191747" y="292697"/>
                </a:cubicBezTo>
                <a:lnTo>
                  <a:pt x="4772602" y="292697"/>
                </a:lnTo>
                <a:lnTo>
                  <a:pt x="5464175" y="0"/>
                </a:lnTo>
                <a:lnTo>
                  <a:pt x="6155747" y="292697"/>
                </a:lnTo>
                <a:lnTo>
                  <a:pt x="10727078" y="292697"/>
                </a:lnTo>
                <a:cubicBezTo>
                  <a:pt x="10832977" y="292697"/>
                  <a:pt x="10918825" y="378545"/>
                  <a:pt x="10918825" y="484444"/>
                </a:cubicBezTo>
                <a:lnTo>
                  <a:pt x="10918825" y="1891470"/>
                </a:lnTo>
                <a:cubicBezTo>
                  <a:pt x="10918825" y="1997369"/>
                  <a:pt x="10832977" y="2083217"/>
                  <a:pt x="10727078" y="2083217"/>
                </a:cubicBezTo>
                <a:close/>
              </a:path>
            </a:pathLst>
          </a:custGeom>
          <a:solidFill>
            <a:schemeClr val="bg1"/>
          </a:solidFill>
          <a:ln w="57150">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a:p>
        </p:txBody>
      </p:sp>
      <p:pic>
        <p:nvPicPr>
          <p:cNvPr id="23" name="図 2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1023901" y="1931822"/>
            <a:ext cx="1299661" cy="801463"/>
          </a:xfrm>
          <a:prstGeom prst="rect">
            <a:avLst/>
          </a:prstGeom>
        </p:spPr>
      </p:pic>
      <p:sp>
        <p:nvSpPr>
          <p:cNvPr id="25" name="角丸四角形 24"/>
          <p:cNvSpPr/>
          <p:nvPr/>
        </p:nvSpPr>
        <p:spPr>
          <a:xfrm>
            <a:off x="9807058" y="2712788"/>
            <a:ext cx="1467434" cy="575126"/>
          </a:xfrm>
          <a:prstGeom prst="round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kumimoji="1" lang="ja-JP" altLang="en-US" b="1" dirty="0" smtClean="0">
                <a:latin typeface="Meiryo UI" panose="020B0604030504040204" pitchFamily="50" charset="-128"/>
                <a:ea typeface="Meiryo UI" panose="020B0604030504040204" pitchFamily="50" charset="-128"/>
              </a:rPr>
              <a:t>輸送力低い</a:t>
            </a:r>
            <a:endParaRPr kumimoji="1" lang="en-US" altLang="ja-JP" b="1" dirty="0" smtClean="0">
              <a:latin typeface="Meiryo UI" panose="020B0604030504040204" pitchFamily="50" charset="-128"/>
              <a:ea typeface="Meiryo UI" panose="020B0604030504040204" pitchFamily="50" charset="-128"/>
            </a:endParaRPr>
          </a:p>
          <a:p>
            <a:pPr algn="ctr"/>
            <a:r>
              <a:rPr kumimoji="1" lang="ja-JP" altLang="en-US" b="1" dirty="0" smtClean="0">
                <a:latin typeface="Meiryo UI" panose="020B0604030504040204" pitchFamily="50" charset="-128"/>
                <a:ea typeface="Meiryo UI" panose="020B0604030504040204" pitchFamily="50" charset="-128"/>
              </a:rPr>
              <a:t>柔軟性高い</a:t>
            </a:r>
            <a:endParaRPr kumimoji="1" lang="ja-JP" altLang="en-US" b="1" dirty="0">
              <a:latin typeface="Meiryo UI" panose="020B0604030504040204" pitchFamily="50" charset="-128"/>
              <a:ea typeface="Meiryo UI" panose="020B0604030504040204" pitchFamily="50" charset="-128"/>
            </a:endParaRPr>
          </a:p>
        </p:txBody>
      </p:sp>
      <p:sp>
        <p:nvSpPr>
          <p:cNvPr id="26" name="角丸四角形 25"/>
          <p:cNvSpPr/>
          <p:nvPr/>
        </p:nvSpPr>
        <p:spPr>
          <a:xfrm>
            <a:off x="932520" y="2705143"/>
            <a:ext cx="1494808" cy="590417"/>
          </a:xfrm>
          <a:prstGeom prst="round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lang="ja-JP" altLang="en-US" b="1" dirty="0" smtClean="0">
                <a:latin typeface="Meiryo UI" panose="020B0604030504040204" pitchFamily="50" charset="-128"/>
                <a:ea typeface="Meiryo UI" panose="020B0604030504040204" pitchFamily="50" charset="-128"/>
              </a:rPr>
              <a:t>輸送力高い</a:t>
            </a:r>
            <a:endParaRPr lang="en-US" altLang="ja-JP" b="1" dirty="0" smtClean="0">
              <a:latin typeface="Meiryo UI" panose="020B0604030504040204" pitchFamily="50" charset="-128"/>
              <a:ea typeface="Meiryo UI" panose="020B0604030504040204" pitchFamily="50" charset="-128"/>
            </a:endParaRPr>
          </a:p>
          <a:p>
            <a:pPr algn="ctr"/>
            <a:r>
              <a:rPr lang="ja-JP" altLang="en-US" b="1" dirty="0" smtClean="0">
                <a:latin typeface="Meiryo UI" panose="020B0604030504040204" pitchFamily="50" charset="-128"/>
                <a:ea typeface="Meiryo UI" panose="020B0604030504040204" pitchFamily="50" charset="-128"/>
              </a:rPr>
              <a:t>柔軟性低い</a:t>
            </a:r>
            <a:endParaRPr kumimoji="1" lang="ja-JP" altLang="en-US" b="1" dirty="0">
              <a:latin typeface="Meiryo UI" panose="020B0604030504040204" pitchFamily="50" charset="-128"/>
              <a:ea typeface="Meiryo UI" panose="020B0604030504040204" pitchFamily="50" charset="-128"/>
            </a:endParaRPr>
          </a:p>
        </p:txBody>
      </p:sp>
      <p:sp>
        <p:nvSpPr>
          <p:cNvPr id="27" name="左右矢印 26"/>
          <p:cNvSpPr/>
          <p:nvPr/>
        </p:nvSpPr>
        <p:spPr>
          <a:xfrm>
            <a:off x="2427328" y="2708838"/>
            <a:ext cx="7379730" cy="579076"/>
          </a:xfrm>
          <a:prstGeom prst="leftRightArrow">
            <a:avLst>
              <a:gd name="adj1" fmla="val 63159"/>
              <a:gd name="adj2" fmla="val 86566"/>
            </a:avLst>
          </a:prstGeom>
          <a:gradFill flip="none" rotWithShape="1">
            <a:gsLst>
              <a:gs pos="0">
                <a:srgbClr val="FC6E04">
                  <a:alpha val="60000"/>
                </a:srgbClr>
              </a:gs>
              <a:gs pos="100000">
                <a:schemeClr val="accent5">
                  <a:alpha val="60000"/>
                </a:schemeClr>
              </a:gs>
            </a:gsLst>
            <a:lin ang="0" scaled="1"/>
            <a:tileRect/>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テキスト ボックス 27"/>
          <p:cNvSpPr txBox="1"/>
          <p:nvPr/>
        </p:nvSpPr>
        <p:spPr>
          <a:xfrm>
            <a:off x="1234938" y="1639983"/>
            <a:ext cx="877163" cy="369332"/>
          </a:xfrm>
          <a:prstGeom prst="rect">
            <a:avLst/>
          </a:prstGeom>
          <a:noFill/>
        </p:spPr>
        <p:txBody>
          <a:bodyPr wrap="none" rtlCol="0">
            <a:spAutoFit/>
          </a:bodyPr>
          <a:lstStyle/>
          <a:p>
            <a:r>
              <a:rPr kumimoji="1" lang="ja-JP" altLang="en-US" dirty="0" smtClean="0">
                <a:latin typeface="Meiryo UI" panose="020B0604030504040204" pitchFamily="50" charset="-128"/>
                <a:ea typeface="Meiryo UI" panose="020B0604030504040204" pitchFamily="50" charset="-128"/>
              </a:rPr>
              <a:t>飛行機</a:t>
            </a:r>
            <a:endParaRPr kumimoji="1" lang="ja-JP" altLang="en-US" dirty="0">
              <a:latin typeface="Meiryo UI" panose="020B0604030504040204" pitchFamily="50" charset="-128"/>
              <a:ea typeface="Meiryo UI" panose="020B0604030504040204" pitchFamily="50" charset="-128"/>
            </a:endParaRPr>
          </a:p>
        </p:txBody>
      </p:sp>
      <p:sp>
        <p:nvSpPr>
          <p:cNvPr id="29" name="テキスト ボックス 28"/>
          <p:cNvSpPr txBox="1"/>
          <p:nvPr/>
        </p:nvSpPr>
        <p:spPr>
          <a:xfrm>
            <a:off x="2805328" y="1639983"/>
            <a:ext cx="1107996" cy="369332"/>
          </a:xfrm>
          <a:prstGeom prst="rect">
            <a:avLst/>
          </a:prstGeom>
          <a:noFill/>
        </p:spPr>
        <p:txBody>
          <a:bodyPr wrap="none" rtlCol="0">
            <a:spAutoFit/>
          </a:bodyPr>
          <a:lstStyle/>
          <a:p>
            <a:r>
              <a:rPr kumimoji="1" lang="ja-JP" altLang="en-US" dirty="0" smtClean="0">
                <a:latin typeface="Meiryo UI" panose="020B0604030504040204" pitchFamily="50" charset="-128"/>
                <a:ea typeface="Meiryo UI" panose="020B0604030504040204" pitchFamily="50" charset="-128"/>
              </a:rPr>
              <a:t>高速鉄道</a:t>
            </a:r>
            <a:endParaRPr kumimoji="1" lang="ja-JP" altLang="en-US" dirty="0">
              <a:latin typeface="Meiryo UI" panose="020B0604030504040204" pitchFamily="50" charset="-128"/>
              <a:ea typeface="Meiryo UI" panose="020B0604030504040204" pitchFamily="50" charset="-128"/>
            </a:endParaRPr>
          </a:p>
        </p:txBody>
      </p:sp>
      <p:sp>
        <p:nvSpPr>
          <p:cNvPr id="30" name="テキスト ボックス 29"/>
          <p:cNvSpPr txBox="1"/>
          <p:nvPr/>
        </p:nvSpPr>
        <p:spPr>
          <a:xfrm>
            <a:off x="4444899" y="1639983"/>
            <a:ext cx="1107996" cy="369332"/>
          </a:xfrm>
          <a:prstGeom prst="rect">
            <a:avLst/>
          </a:prstGeom>
          <a:noFill/>
        </p:spPr>
        <p:txBody>
          <a:bodyPr wrap="none" rtlCol="0">
            <a:spAutoFit/>
          </a:bodyPr>
          <a:lstStyle/>
          <a:p>
            <a:r>
              <a:rPr lang="ja-JP" altLang="en-US" dirty="0">
                <a:latin typeface="Meiryo UI" panose="020B0604030504040204" pitchFamily="50" charset="-128"/>
                <a:ea typeface="Meiryo UI" panose="020B0604030504040204" pitchFamily="50" charset="-128"/>
              </a:rPr>
              <a:t>在来</a:t>
            </a:r>
            <a:r>
              <a:rPr kumimoji="1" lang="ja-JP" altLang="en-US" dirty="0" smtClean="0">
                <a:latin typeface="Meiryo UI" panose="020B0604030504040204" pitchFamily="50" charset="-128"/>
                <a:ea typeface="Meiryo UI" panose="020B0604030504040204" pitchFamily="50" charset="-128"/>
              </a:rPr>
              <a:t>鉄道</a:t>
            </a:r>
            <a:endParaRPr kumimoji="1" lang="ja-JP" altLang="en-US" dirty="0">
              <a:latin typeface="Meiryo UI" panose="020B0604030504040204" pitchFamily="50" charset="-128"/>
              <a:ea typeface="Meiryo UI" panose="020B0604030504040204" pitchFamily="50" charset="-128"/>
            </a:endParaRPr>
          </a:p>
        </p:txBody>
      </p:sp>
      <p:sp>
        <p:nvSpPr>
          <p:cNvPr id="31" name="テキスト ボックス 30"/>
          <p:cNvSpPr txBox="1"/>
          <p:nvPr/>
        </p:nvSpPr>
        <p:spPr>
          <a:xfrm>
            <a:off x="6511684" y="1624211"/>
            <a:ext cx="577402" cy="369332"/>
          </a:xfrm>
          <a:prstGeom prst="rect">
            <a:avLst/>
          </a:prstGeom>
          <a:noFill/>
        </p:spPr>
        <p:txBody>
          <a:bodyPr wrap="none" rtlCol="0">
            <a:spAutoFit/>
          </a:bodyPr>
          <a:lstStyle/>
          <a:p>
            <a:r>
              <a:rPr lang="ja-JP" altLang="en-US" dirty="0">
                <a:latin typeface="Meiryo UI" panose="020B0604030504040204" pitchFamily="50" charset="-128"/>
                <a:ea typeface="Meiryo UI" panose="020B0604030504040204" pitchFamily="50" charset="-128"/>
              </a:rPr>
              <a:t>バス</a:t>
            </a:r>
            <a:endParaRPr kumimoji="1" lang="ja-JP" altLang="en-US" dirty="0">
              <a:latin typeface="Meiryo UI" panose="020B0604030504040204" pitchFamily="50" charset="-128"/>
              <a:ea typeface="Meiryo UI" panose="020B0604030504040204" pitchFamily="50" charset="-128"/>
            </a:endParaRPr>
          </a:p>
        </p:txBody>
      </p:sp>
      <p:sp>
        <p:nvSpPr>
          <p:cNvPr id="32" name="テキスト ボックス 31"/>
          <p:cNvSpPr txBox="1"/>
          <p:nvPr/>
        </p:nvSpPr>
        <p:spPr>
          <a:xfrm>
            <a:off x="7667917" y="1639983"/>
            <a:ext cx="1854995" cy="369332"/>
          </a:xfrm>
          <a:prstGeom prst="rect">
            <a:avLst/>
          </a:prstGeom>
          <a:noFill/>
        </p:spPr>
        <p:txBody>
          <a:bodyPr wrap="none" rtlCol="0">
            <a:spAutoFit/>
          </a:bodyPr>
          <a:lstStyle/>
          <a:p>
            <a:r>
              <a:rPr lang="ja-JP" altLang="en-US" dirty="0" smtClean="0">
                <a:latin typeface="Meiryo UI" panose="020B0604030504040204" pitchFamily="50" charset="-128"/>
                <a:ea typeface="Meiryo UI" panose="020B0604030504040204" pitchFamily="50" charset="-128"/>
              </a:rPr>
              <a:t>タクシー・カーシェア</a:t>
            </a:r>
            <a:endParaRPr kumimoji="1" lang="ja-JP" altLang="en-US" dirty="0">
              <a:latin typeface="Meiryo UI" panose="020B0604030504040204" pitchFamily="50" charset="-128"/>
              <a:ea typeface="Meiryo UI" panose="020B0604030504040204" pitchFamily="50" charset="-128"/>
            </a:endParaRPr>
          </a:p>
        </p:txBody>
      </p:sp>
      <p:sp>
        <p:nvSpPr>
          <p:cNvPr id="33" name="テキスト ボックス 32"/>
          <p:cNvSpPr txBox="1"/>
          <p:nvPr/>
        </p:nvSpPr>
        <p:spPr>
          <a:xfrm>
            <a:off x="9732464" y="1639983"/>
            <a:ext cx="1396536" cy="369332"/>
          </a:xfrm>
          <a:prstGeom prst="rect">
            <a:avLst/>
          </a:prstGeom>
          <a:noFill/>
        </p:spPr>
        <p:txBody>
          <a:bodyPr wrap="none" rtlCol="0">
            <a:spAutoFit/>
          </a:bodyPr>
          <a:lstStyle/>
          <a:p>
            <a:r>
              <a:rPr lang="ja-JP" altLang="en-US" dirty="0" smtClean="0">
                <a:latin typeface="Meiryo UI" panose="020B0604030504040204" pitchFamily="50" charset="-128"/>
                <a:ea typeface="Meiryo UI" panose="020B0604030504040204" pitchFamily="50" charset="-128"/>
              </a:rPr>
              <a:t>レンタサイクル</a:t>
            </a:r>
            <a:endParaRPr kumimoji="1" lang="ja-JP" altLang="en-US" dirty="0">
              <a:latin typeface="Meiryo UI" panose="020B0604030504040204" pitchFamily="50" charset="-128"/>
              <a:ea typeface="Meiryo UI" panose="020B0604030504040204" pitchFamily="50" charset="-128"/>
            </a:endParaRPr>
          </a:p>
        </p:txBody>
      </p:sp>
      <p:sp>
        <p:nvSpPr>
          <p:cNvPr id="7" name="角丸四角形 6"/>
          <p:cNvSpPr/>
          <p:nvPr/>
        </p:nvSpPr>
        <p:spPr bwMode="gray">
          <a:xfrm>
            <a:off x="4454252" y="2776867"/>
            <a:ext cx="3283497" cy="43753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000" b="1" dirty="0" smtClean="0">
                <a:solidFill>
                  <a:schemeClr val="bg1"/>
                </a:solidFill>
                <a:effectLst>
                  <a:glow rad="101600">
                    <a:srgbClr val="33328B">
                      <a:alpha val="50000"/>
                    </a:srgbClr>
                  </a:glow>
                </a:effectLst>
                <a:latin typeface="Meiryo UI" panose="020B0604030504040204" pitchFamily="50" charset="-128"/>
                <a:ea typeface="Meiryo UI" panose="020B0604030504040204" pitchFamily="50" charset="-128"/>
              </a:rPr>
              <a:t>各交通手段の特徴を生かす</a:t>
            </a:r>
            <a:endParaRPr kumimoji="1" lang="en-US" altLang="ja-JP" sz="2000" b="1" dirty="0" smtClean="0">
              <a:solidFill>
                <a:schemeClr val="bg1"/>
              </a:solidFill>
              <a:effectLst>
                <a:glow rad="101600">
                  <a:srgbClr val="33328B">
                    <a:alpha val="50000"/>
                  </a:srgbClr>
                </a:glow>
              </a:effectLst>
              <a:latin typeface="Meiryo UI" panose="020B0604030504040204" pitchFamily="50" charset="-128"/>
              <a:ea typeface="Meiryo UI" panose="020B0604030504040204" pitchFamily="50" charset="-128"/>
            </a:endParaRPr>
          </a:p>
        </p:txBody>
      </p:sp>
      <p:sp>
        <p:nvSpPr>
          <p:cNvPr id="3" name="タイトル 2"/>
          <p:cNvSpPr>
            <a:spLocks noGrp="1"/>
          </p:cNvSpPr>
          <p:nvPr>
            <p:ph type="ctrTitle"/>
          </p:nvPr>
        </p:nvSpPr>
        <p:spPr/>
        <p:txBody>
          <a:bodyPr/>
          <a:lstStyle/>
          <a:p>
            <a:r>
              <a:rPr lang="en-US" altLang="ja-JP" dirty="0">
                <a:latin typeface="Meiryo UI" panose="020B0604030504040204" pitchFamily="50" charset="-128"/>
              </a:rPr>
              <a:t>2-1</a:t>
            </a:r>
            <a:r>
              <a:rPr lang="ja-JP" altLang="en-US" dirty="0">
                <a:latin typeface="Meiryo UI" panose="020B0604030504040204" pitchFamily="50" charset="-128"/>
              </a:rPr>
              <a:t>　</a:t>
            </a:r>
            <a:r>
              <a:rPr lang="en-US" altLang="ja-JP" dirty="0" err="1">
                <a:latin typeface="Meiryo UI" panose="020B0604030504040204" pitchFamily="50" charset="-128"/>
              </a:rPr>
              <a:t>MaaS</a:t>
            </a:r>
            <a:r>
              <a:rPr lang="ja-JP" altLang="en-US" dirty="0">
                <a:latin typeface="Meiryo UI" panose="020B0604030504040204" pitchFamily="50" charset="-128"/>
              </a:rPr>
              <a:t>とは</a:t>
            </a:r>
            <a:r>
              <a:rPr lang="ja-JP" altLang="en-US" dirty="0" smtClean="0">
                <a:latin typeface="Meiryo UI" panose="020B0604030504040204" pitchFamily="50" charset="-128"/>
              </a:rPr>
              <a:t>・</a:t>
            </a:r>
            <a:r>
              <a:rPr lang="ja-JP" altLang="en-US" dirty="0">
                <a:latin typeface="Meiryo UI" panose="020B0604030504040204" pitchFamily="50" charset="-128"/>
              </a:rPr>
              <a:t>・・</a:t>
            </a:r>
            <a:r>
              <a:rPr lang="en-US" altLang="ja-JP" dirty="0">
                <a:latin typeface="Meiryo UI" panose="020B0604030504040204" pitchFamily="50" charset="-128"/>
              </a:rPr>
              <a:t>Mobility as a Service</a:t>
            </a:r>
            <a:endParaRPr kumimoji="1" lang="ja-JP" altLang="en-US" dirty="0"/>
          </a:p>
        </p:txBody>
      </p:sp>
      <p:sp>
        <p:nvSpPr>
          <p:cNvPr id="4" name="サブタイトル 3"/>
          <p:cNvSpPr>
            <a:spLocks noGrp="1"/>
          </p:cNvSpPr>
          <p:nvPr>
            <p:ph type="subTitle" idx="1"/>
          </p:nvPr>
        </p:nvSpPr>
        <p:spPr/>
        <p:txBody>
          <a:bodyPr/>
          <a:lstStyle/>
          <a:p>
            <a:pPr indent="0"/>
            <a:r>
              <a:rPr lang="ja-JP" altLang="en-US" dirty="0">
                <a:latin typeface="Meiryo UI" panose="020B0604030504040204" pitchFamily="50" charset="-128"/>
              </a:rPr>
              <a:t>交通手段ごとに特徴がある</a:t>
            </a:r>
            <a:r>
              <a:rPr lang="ja-JP" altLang="en-US" dirty="0" smtClean="0">
                <a:latin typeface="Meiryo UI" panose="020B0604030504040204" pitchFamily="50" charset="-128"/>
              </a:rPr>
              <a:t>。</a:t>
            </a:r>
            <a:r>
              <a:rPr lang="en-US" altLang="ja-JP" dirty="0" smtClean="0">
                <a:latin typeface="Meiryo UI" panose="020B0604030504040204" pitchFamily="50" charset="-128"/>
              </a:rPr>
              <a:t/>
            </a:r>
            <a:br>
              <a:rPr lang="en-US" altLang="ja-JP" dirty="0" smtClean="0">
                <a:latin typeface="Meiryo UI" panose="020B0604030504040204" pitchFamily="50" charset="-128"/>
              </a:rPr>
            </a:br>
            <a:r>
              <a:rPr lang="ja-JP" altLang="en-US" dirty="0" smtClean="0">
                <a:latin typeface="Meiryo UI" panose="020B0604030504040204" pitchFamily="50" charset="-128"/>
              </a:rPr>
              <a:t>様々</a:t>
            </a:r>
            <a:r>
              <a:rPr lang="ja-JP" altLang="en-US" dirty="0">
                <a:latin typeface="Meiryo UI" panose="020B0604030504040204" pitchFamily="50" charset="-128"/>
              </a:rPr>
              <a:t>な特徴を持った交通サービスを統合し、「出発地」～「目的地」まで繋ぎシームレスにサービスとして提供をする</a:t>
            </a:r>
            <a:r>
              <a:rPr lang="ja-JP" altLang="en-US" dirty="0" smtClean="0">
                <a:latin typeface="Meiryo UI" panose="020B0604030504040204" pitchFamily="50" charset="-128"/>
              </a:rPr>
              <a:t>。</a:t>
            </a:r>
            <a:endParaRPr lang="ja-JP" altLang="en-US" dirty="0">
              <a:latin typeface="Meiryo UI" panose="020B0604030504040204" pitchFamily="50" charset="-128"/>
            </a:endParaRPr>
          </a:p>
        </p:txBody>
      </p:sp>
      <p:pic>
        <p:nvPicPr>
          <p:cNvPr id="53" name="図 5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a:off x="2801469" y="2022678"/>
            <a:ext cx="1115714" cy="700499"/>
          </a:xfrm>
          <a:prstGeom prst="rect">
            <a:avLst/>
          </a:prstGeom>
        </p:spPr>
      </p:pic>
      <p:pic>
        <p:nvPicPr>
          <p:cNvPr id="55" name="図 5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flipH="1">
            <a:off x="4413517" y="1963750"/>
            <a:ext cx="1170761" cy="750350"/>
          </a:xfrm>
          <a:prstGeom prst="rect">
            <a:avLst/>
          </a:prstGeom>
        </p:spPr>
      </p:pic>
      <p:pic>
        <p:nvPicPr>
          <p:cNvPr id="56" name="図 5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9992076" y="2008910"/>
            <a:ext cx="877312" cy="651302"/>
          </a:xfrm>
          <a:prstGeom prst="rect">
            <a:avLst/>
          </a:prstGeom>
        </p:spPr>
      </p:pic>
      <p:pic>
        <p:nvPicPr>
          <p:cNvPr id="57" name="図 5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93822" y="1882924"/>
            <a:ext cx="1003185" cy="878345"/>
          </a:xfrm>
          <a:prstGeom prst="rect">
            <a:avLst/>
          </a:prstGeom>
        </p:spPr>
      </p:pic>
      <p:pic>
        <p:nvPicPr>
          <p:cNvPr id="58" name="図 5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184478" y="2022473"/>
            <a:ext cx="1231814" cy="674668"/>
          </a:xfrm>
          <a:prstGeom prst="rect">
            <a:avLst/>
          </a:prstGeom>
        </p:spPr>
      </p:pic>
      <p:sp>
        <p:nvSpPr>
          <p:cNvPr id="51" name="テキスト ボックス 50"/>
          <p:cNvSpPr txBox="1"/>
          <p:nvPr/>
        </p:nvSpPr>
        <p:spPr bwMode="gray">
          <a:xfrm>
            <a:off x="765174" y="3581432"/>
            <a:ext cx="9502775" cy="707886"/>
          </a:xfrm>
          <a:prstGeom prst="rect">
            <a:avLst/>
          </a:prstGeom>
          <a:noFill/>
        </p:spPr>
        <p:txBody>
          <a:bodyPr wrap="square" rtlCol="0">
            <a:spAutoFit/>
          </a:bodyPr>
          <a:lstStyle/>
          <a:p>
            <a:r>
              <a:rPr lang="ja-JP" altLang="en-US" sz="2000" b="1" dirty="0">
                <a:solidFill>
                  <a:schemeClr val="bg1"/>
                </a:solidFill>
                <a:effectLst>
                  <a:glow rad="127000">
                    <a:srgbClr val="33328B">
                      <a:alpha val="50000"/>
                    </a:srgbClr>
                  </a:glow>
                </a:effectLst>
                <a:latin typeface="Meiryo UI" panose="020B0604030504040204" pitchFamily="50" charset="-128"/>
                <a:ea typeface="Meiryo UI" panose="020B0604030504040204" pitchFamily="50" charset="-128"/>
              </a:rPr>
              <a:t>様々な特色を持った交通</a:t>
            </a:r>
            <a:r>
              <a:rPr lang="ja-JP" altLang="en-US" sz="2000" b="1" dirty="0" smtClean="0">
                <a:solidFill>
                  <a:schemeClr val="bg1"/>
                </a:solidFill>
                <a:effectLst>
                  <a:glow rad="127000">
                    <a:srgbClr val="33328B">
                      <a:alpha val="50000"/>
                    </a:srgbClr>
                  </a:glow>
                </a:effectLst>
                <a:latin typeface="Meiryo UI" panose="020B0604030504040204" pitchFamily="50" charset="-128"/>
                <a:ea typeface="Meiryo UI" panose="020B0604030504040204" pitchFamily="50" charset="-128"/>
              </a:rPr>
              <a:t>サービスを統合し、</a:t>
            </a:r>
            <a:endParaRPr lang="en-US" altLang="ja-JP" sz="2000" b="1" dirty="0" smtClean="0">
              <a:solidFill>
                <a:schemeClr val="bg1"/>
              </a:solidFill>
              <a:effectLst>
                <a:glow rad="127000">
                  <a:srgbClr val="33328B">
                    <a:alpha val="50000"/>
                  </a:srgbClr>
                </a:glow>
              </a:effectLst>
              <a:latin typeface="Meiryo UI" panose="020B0604030504040204" pitchFamily="50" charset="-128"/>
              <a:ea typeface="Meiryo UI" panose="020B0604030504040204" pitchFamily="50" charset="-128"/>
            </a:endParaRPr>
          </a:p>
          <a:p>
            <a:r>
              <a:rPr lang="ja-JP" altLang="en-US" sz="2000" b="1" dirty="0" smtClean="0">
                <a:solidFill>
                  <a:schemeClr val="bg1"/>
                </a:solidFill>
                <a:effectLst>
                  <a:glow rad="127000">
                    <a:srgbClr val="33328B">
                      <a:alpha val="50000"/>
                    </a:srgbClr>
                  </a:glow>
                </a:effectLst>
                <a:latin typeface="Meiryo UI" panose="020B0604030504040204" pitchFamily="50" charset="-128"/>
                <a:ea typeface="Meiryo UI" panose="020B0604030504040204" pitchFamily="50" charset="-128"/>
              </a:rPr>
              <a:t>「</a:t>
            </a:r>
            <a:r>
              <a:rPr lang="ja-JP" altLang="en-US" sz="2000" b="1" dirty="0">
                <a:solidFill>
                  <a:schemeClr val="bg1"/>
                </a:solidFill>
                <a:effectLst>
                  <a:glow rad="127000">
                    <a:srgbClr val="33328B">
                      <a:alpha val="50000"/>
                    </a:srgbClr>
                  </a:glow>
                </a:effectLst>
                <a:latin typeface="Meiryo UI" panose="020B0604030504040204" pitchFamily="50" charset="-128"/>
                <a:ea typeface="Meiryo UI" panose="020B0604030504040204" pitchFamily="50" charset="-128"/>
              </a:rPr>
              <a:t>出発地」～「目的地」</a:t>
            </a:r>
            <a:r>
              <a:rPr lang="ja-JP" altLang="en-US" sz="2000" b="1" dirty="0" smtClean="0">
                <a:solidFill>
                  <a:schemeClr val="bg1"/>
                </a:solidFill>
                <a:effectLst>
                  <a:glow rad="127000">
                    <a:srgbClr val="33328B">
                      <a:alpha val="50000"/>
                    </a:srgbClr>
                  </a:glow>
                </a:effectLst>
                <a:latin typeface="Meiryo UI" panose="020B0604030504040204" pitchFamily="50" charset="-128"/>
                <a:ea typeface="Meiryo UI" panose="020B0604030504040204" pitchFamily="50" charset="-128"/>
              </a:rPr>
              <a:t>まで待ち時間がない、シームレスに提供する</a:t>
            </a:r>
            <a:r>
              <a:rPr lang="ja-JP" altLang="en-US" sz="2000" b="1" dirty="0">
                <a:solidFill>
                  <a:schemeClr val="bg1"/>
                </a:solidFill>
                <a:effectLst>
                  <a:glow rad="127000">
                    <a:srgbClr val="33328B">
                      <a:alpha val="50000"/>
                    </a:srgbClr>
                  </a:glow>
                </a:effectLst>
                <a:latin typeface="Meiryo UI" panose="020B0604030504040204" pitchFamily="50" charset="-128"/>
                <a:ea typeface="Meiryo UI" panose="020B0604030504040204" pitchFamily="50" charset="-128"/>
              </a:rPr>
              <a:t>交通</a:t>
            </a:r>
            <a:r>
              <a:rPr lang="ja-JP" altLang="en-US" sz="2000" b="1" dirty="0" smtClean="0">
                <a:solidFill>
                  <a:schemeClr val="bg1"/>
                </a:solidFill>
                <a:effectLst>
                  <a:glow rad="127000">
                    <a:srgbClr val="33328B">
                      <a:alpha val="50000"/>
                    </a:srgbClr>
                  </a:glow>
                </a:effectLst>
                <a:latin typeface="Meiryo UI" panose="020B0604030504040204" pitchFamily="50" charset="-128"/>
                <a:ea typeface="Meiryo UI" panose="020B0604030504040204" pitchFamily="50" charset="-128"/>
              </a:rPr>
              <a:t>サービスの実現。</a:t>
            </a:r>
            <a:endParaRPr lang="ja-JP" altLang="en-US" sz="2000" b="1" dirty="0">
              <a:solidFill>
                <a:schemeClr val="bg1"/>
              </a:solidFill>
              <a:effectLst>
                <a:glow rad="127000">
                  <a:srgbClr val="33328B">
                    <a:alpha val="50000"/>
                  </a:srgbClr>
                </a:glow>
              </a:effectLst>
              <a:latin typeface="Meiryo UI" panose="020B0604030504040204" pitchFamily="50" charset="-128"/>
              <a:ea typeface="Meiryo UI" panose="020B0604030504040204" pitchFamily="50" charset="-128"/>
            </a:endParaRPr>
          </a:p>
        </p:txBody>
      </p:sp>
      <p:pic>
        <p:nvPicPr>
          <p:cNvPr id="9" name="図 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692876" y="4477335"/>
            <a:ext cx="1578111" cy="1567050"/>
          </a:xfrm>
          <a:prstGeom prst="rect">
            <a:avLst/>
          </a:prstGeom>
        </p:spPr>
      </p:pic>
      <p:sp>
        <p:nvSpPr>
          <p:cNvPr id="12" name="右矢印 11"/>
          <p:cNvSpPr/>
          <p:nvPr/>
        </p:nvSpPr>
        <p:spPr>
          <a:xfrm>
            <a:off x="2112101" y="5471686"/>
            <a:ext cx="7879975" cy="584736"/>
          </a:xfrm>
          <a:prstGeom prst="rightArrow">
            <a:avLst>
              <a:gd name="adj1" fmla="val 61578"/>
              <a:gd name="adj2" fmla="val 82691"/>
            </a:avLst>
          </a:prstGeom>
          <a:gradFill flip="none" rotWithShape="1">
            <a:gsLst>
              <a:gs pos="0">
                <a:srgbClr val="B5B5E5"/>
              </a:gs>
              <a:gs pos="34000">
                <a:schemeClr val="accent4"/>
              </a:gs>
            </a:gsLst>
            <a:lin ang="0" scaled="1"/>
            <a:tileRect/>
          </a:gradFill>
          <a:ln w="19050">
            <a:gradFill flip="none" rotWithShape="1">
              <a:gsLst>
                <a:gs pos="0">
                  <a:srgbClr val="B5B5E5"/>
                </a:gs>
                <a:gs pos="11000">
                  <a:schemeClr val="bg1"/>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3" name="図 1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678487" y="4900762"/>
            <a:ext cx="902913" cy="902913"/>
          </a:xfrm>
          <a:prstGeom prst="rect">
            <a:avLst/>
          </a:prstGeom>
        </p:spPr>
      </p:pic>
      <p:pic>
        <p:nvPicPr>
          <p:cNvPr id="14" name="図 1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flipH="1">
            <a:off x="4202254" y="4406781"/>
            <a:ext cx="1269070" cy="1145126"/>
          </a:xfrm>
          <a:prstGeom prst="rect">
            <a:avLst/>
          </a:prstGeom>
        </p:spPr>
      </p:pic>
      <p:pic>
        <p:nvPicPr>
          <p:cNvPr id="15" name="図 14"/>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flipH="1">
            <a:off x="6318135" y="4700577"/>
            <a:ext cx="934718" cy="853253"/>
          </a:xfrm>
          <a:prstGeom prst="rect">
            <a:avLst/>
          </a:prstGeom>
        </p:spPr>
      </p:pic>
      <p:pic>
        <p:nvPicPr>
          <p:cNvPr id="16" name="図 15"/>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flipH="1">
            <a:off x="7789342" y="4755563"/>
            <a:ext cx="797283" cy="897386"/>
          </a:xfrm>
          <a:prstGeom prst="rect">
            <a:avLst/>
          </a:prstGeom>
        </p:spPr>
      </p:pic>
      <p:pic>
        <p:nvPicPr>
          <p:cNvPr id="10" name="図 9"/>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flipH="1">
            <a:off x="8432049" y="4736427"/>
            <a:ext cx="836181" cy="956608"/>
          </a:xfrm>
          <a:prstGeom prst="rect">
            <a:avLst/>
          </a:prstGeom>
        </p:spPr>
      </p:pic>
      <p:sp>
        <p:nvSpPr>
          <p:cNvPr id="6" name="テキスト ボックス 5"/>
          <p:cNvSpPr txBox="1"/>
          <p:nvPr/>
        </p:nvSpPr>
        <p:spPr>
          <a:xfrm>
            <a:off x="1316168" y="4497913"/>
            <a:ext cx="744260" cy="278582"/>
          </a:xfrm>
          <a:prstGeom prst="roundRect">
            <a:avLst/>
          </a:prstGeom>
          <a:solidFill>
            <a:schemeClr val="accent5">
              <a:lumMod val="50000"/>
            </a:schemeClr>
          </a:solidFill>
        </p:spPr>
        <p:txBody>
          <a:bodyPr wrap="none" tIns="36000" bIns="0" rtlCol="0">
            <a:spAutoFit/>
          </a:bodyPr>
          <a:lstStyle/>
          <a:p>
            <a:r>
              <a:rPr kumimoji="1" lang="ja-JP" altLang="en-US" sz="1400" b="1" dirty="0" smtClean="0">
                <a:solidFill>
                  <a:schemeClr val="bg1"/>
                </a:solidFill>
              </a:rPr>
              <a:t>出発地</a:t>
            </a:r>
            <a:endParaRPr kumimoji="1" lang="ja-JP" altLang="en-US" sz="1400" b="1" dirty="0">
              <a:solidFill>
                <a:schemeClr val="bg1"/>
              </a:solidFill>
            </a:endParaRPr>
          </a:p>
        </p:txBody>
      </p:sp>
      <p:sp>
        <p:nvSpPr>
          <p:cNvPr id="67" name="テキスト ボックス 66"/>
          <p:cNvSpPr txBox="1"/>
          <p:nvPr/>
        </p:nvSpPr>
        <p:spPr>
          <a:xfrm>
            <a:off x="9456551" y="4406473"/>
            <a:ext cx="744260" cy="278582"/>
          </a:xfrm>
          <a:prstGeom prst="roundRect">
            <a:avLst/>
          </a:prstGeom>
          <a:solidFill>
            <a:schemeClr val="accent5">
              <a:lumMod val="50000"/>
            </a:schemeClr>
          </a:solidFill>
        </p:spPr>
        <p:txBody>
          <a:bodyPr wrap="none" tIns="36000" bIns="0" rtlCol="0">
            <a:spAutoFit/>
          </a:bodyPr>
          <a:lstStyle/>
          <a:p>
            <a:r>
              <a:rPr kumimoji="1" lang="ja-JP" altLang="en-US" sz="1400" b="1" dirty="0" smtClean="0">
                <a:solidFill>
                  <a:schemeClr val="bg1"/>
                </a:solidFill>
              </a:rPr>
              <a:t>目的地</a:t>
            </a:r>
            <a:endParaRPr kumimoji="1" lang="ja-JP" altLang="en-US" sz="1400" b="1" dirty="0">
              <a:solidFill>
                <a:schemeClr val="bg1"/>
              </a:solidFill>
            </a:endParaRPr>
          </a:p>
        </p:txBody>
      </p:sp>
      <p:sp>
        <p:nvSpPr>
          <p:cNvPr id="43" name="テキスト ボックス 42"/>
          <p:cNvSpPr txBox="1"/>
          <p:nvPr/>
        </p:nvSpPr>
        <p:spPr>
          <a:xfrm>
            <a:off x="2411182" y="4377412"/>
            <a:ext cx="1345240" cy="579646"/>
          </a:xfrm>
          <a:prstGeom prst="rect">
            <a:avLst/>
          </a:prstGeom>
          <a:noFill/>
        </p:spPr>
        <p:txBody>
          <a:bodyPr wrap="none" rtlCol="0">
            <a:spAutoFit/>
          </a:bodyPr>
          <a:lstStyle/>
          <a:p>
            <a:pPr algn="ctr">
              <a:lnSpc>
                <a:spcPts val="1900"/>
              </a:lnSpc>
            </a:pPr>
            <a:r>
              <a:rPr lang="ja-JP" altLang="en-US" dirty="0" smtClean="0">
                <a:latin typeface="Meiryo UI" panose="020B0604030504040204" pitchFamily="50" charset="-128"/>
                <a:ea typeface="Meiryo UI" panose="020B0604030504040204" pitchFamily="50" charset="-128"/>
              </a:rPr>
              <a:t>タクシー配車</a:t>
            </a:r>
            <a:endParaRPr lang="en-US" altLang="ja-JP" dirty="0" smtClean="0">
              <a:latin typeface="Meiryo UI" panose="020B0604030504040204" pitchFamily="50" charset="-128"/>
              <a:ea typeface="Meiryo UI" panose="020B0604030504040204" pitchFamily="50" charset="-128"/>
            </a:endParaRPr>
          </a:p>
          <a:p>
            <a:pPr algn="ctr">
              <a:lnSpc>
                <a:spcPts val="1900"/>
              </a:lnSpc>
            </a:pPr>
            <a:r>
              <a:rPr lang="ja-JP" altLang="en-US" dirty="0" smtClean="0">
                <a:latin typeface="Meiryo UI" panose="020B0604030504040204" pitchFamily="50" charset="-128"/>
                <a:ea typeface="Meiryo UI" panose="020B0604030504040204" pitchFamily="50" charset="-128"/>
              </a:rPr>
              <a:t>システム</a:t>
            </a:r>
            <a:endParaRPr kumimoji="1" lang="ja-JP" altLang="en-US" dirty="0">
              <a:latin typeface="Meiryo UI" panose="020B0604030504040204" pitchFamily="50" charset="-128"/>
              <a:ea typeface="Meiryo UI" panose="020B0604030504040204" pitchFamily="50" charset="-128"/>
            </a:endParaRPr>
          </a:p>
        </p:txBody>
      </p:sp>
      <p:sp>
        <p:nvSpPr>
          <p:cNvPr id="45" name="テキスト ボックス 44"/>
          <p:cNvSpPr txBox="1"/>
          <p:nvPr/>
        </p:nvSpPr>
        <p:spPr>
          <a:xfrm>
            <a:off x="4843729" y="4362155"/>
            <a:ext cx="1133644" cy="369332"/>
          </a:xfrm>
          <a:prstGeom prst="rect">
            <a:avLst/>
          </a:prstGeom>
          <a:noFill/>
        </p:spPr>
        <p:txBody>
          <a:bodyPr wrap="none" rtlCol="0">
            <a:spAutoFit/>
          </a:bodyPr>
          <a:lstStyle/>
          <a:p>
            <a:r>
              <a:rPr kumimoji="1" lang="ja-JP" altLang="en-US" dirty="0" smtClean="0">
                <a:latin typeface="Meiryo UI" panose="020B0604030504040204" pitchFamily="50" charset="-128"/>
                <a:ea typeface="Meiryo UI" panose="020B0604030504040204" pitchFamily="50" charset="-128"/>
              </a:rPr>
              <a:t>搭乗予約</a:t>
            </a:r>
            <a:endParaRPr kumimoji="1" lang="ja-JP" altLang="en-US" dirty="0">
              <a:latin typeface="Meiryo UI" panose="020B0604030504040204" pitchFamily="50" charset="-128"/>
              <a:ea typeface="Meiryo UI" panose="020B0604030504040204" pitchFamily="50" charset="-128"/>
            </a:endParaRPr>
          </a:p>
        </p:txBody>
      </p:sp>
      <p:sp>
        <p:nvSpPr>
          <p:cNvPr id="46" name="テキスト ボックス 45"/>
          <p:cNvSpPr txBox="1"/>
          <p:nvPr/>
        </p:nvSpPr>
        <p:spPr>
          <a:xfrm>
            <a:off x="6233563" y="4358746"/>
            <a:ext cx="1133644" cy="369332"/>
          </a:xfrm>
          <a:prstGeom prst="rect">
            <a:avLst/>
          </a:prstGeom>
          <a:noFill/>
        </p:spPr>
        <p:txBody>
          <a:bodyPr wrap="none" rtlCol="0">
            <a:spAutoFit/>
          </a:bodyPr>
          <a:lstStyle/>
          <a:p>
            <a:pPr algn="ctr"/>
            <a:r>
              <a:rPr kumimoji="1" lang="ja-JP" altLang="en-US" dirty="0" smtClean="0">
                <a:latin typeface="Meiryo UI" panose="020B0604030504040204" pitchFamily="50" charset="-128"/>
                <a:ea typeface="Meiryo UI" panose="020B0604030504040204" pitchFamily="50" charset="-128"/>
              </a:rPr>
              <a:t>座席予約</a:t>
            </a:r>
            <a:endParaRPr kumimoji="1" lang="ja-JP" altLang="en-US" dirty="0">
              <a:latin typeface="Meiryo UI" panose="020B0604030504040204" pitchFamily="50" charset="-128"/>
              <a:ea typeface="Meiryo UI" panose="020B0604030504040204" pitchFamily="50" charset="-128"/>
            </a:endParaRPr>
          </a:p>
        </p:txBody>
      </p:sp>
      <p:sp>
        <p:nvSpPr>
          <p:cNvPr id="47" name="テキスト ボックス 46"/>
          <p:cNvSpPr txBox="1"/>
          <p:nvPr/>
        </p:nvSpPr>
        <p:spPr>
          <a:xfrm>
            <a:off x="7667917" y="4362155"/>
            <a:ext cx="1585690" cy="369332"/>
          </a:xfrm>
          <a:prstGeom prst="rect">
            <a:avLst/>
          </a:prstGeom>
          <a:noFill/>
        </p:spPr>
        <p:txBody>
          <a:bodyPr wrap="none" rtlCol="0">
            <a:spAutoFit/>
          </a:bodyPr>
          <a:lstStyle/>
          <a:p>
            <a:pPr algn="ctr"/>
            <a:r>
              <a:rPr lang="ja-JP" altLang="en-US" dirty="0" smtClean="0">
                <a:latin typeface="Meiryo UI" panose="020B0604030504040204" pitchFamily="50" charset="-128"/>
                <a:ea typeface="Meiryo UI" panose="020B0604030504040204" pitchFamily="50" charset="-128"/>
              </a:rPr>
              <a:t>レンタル</a:t>
            </a:r>
            <a:r>
              <a:rPr lang="ja-JP" altLang="en-US" dirty="0">
                <a:latin typeface="Meiryo UI" panose="020B0604030504040204" pitchFamily="50" charset="-128"/>
                <a:ea typeface="Meiryo UI" panose="020B0604030504040204" pitchFamily="50" charset="-128"/>
              </a:rPr>
              <a:t>サイクル</a:t>
            </a:r>
            <a:endParaRPr kumimoji="1" lang="ja-JP" altLang="en-US" dirty="0">
              <a:latin typeface="Meiryo UI" panose="020B0604030504040204" pitchFamily="50" charset="-128"/>
              <a:ea typeface="Meiryo UI" panose="020B0604030504040204" pitchFamily="50" charset="-128"/>
            </a:endParaRPr>
          </a:p>
        </p:txBody>
      </p:sp>
      <p:pic>
        <p:nvPicPr>
          <p:cNvPr id="8" name="図 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42370" y="4743195"/>
            <a:ext cx="1675107" cy="1390470"/>
          </a:xfrm>
          <a:prstGeom prst="rect">
            <a:avLst/>
          </a:prstGeom>
        </p:spPr>
      </p:pic>
      <p:sp>
        <p:nvSpPr>
          <p:cNvPr id="68" name="角丸四角形 67"/>
          <p:cNvSpPr/>
          <p:nvPr/>
        </p:nvSpPr>
        <p:spPr bwMode="gray">
          <a:xfrm>
            <a:off x="4454252" y="5536246"/>
            <a:ext cx="3283497" cy="43753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400" b="1" dirty="0" smtClean="0">
                <a:solidFill>
                  <a:schemeClr val="bg1"/>
                </a:solidFill>
                <a:effectLst>
                  <a:glow rad="114300">
                    <a:schemeClr val="accent2"/>
                  </a:glow>
                </a:effectLst>
                <a:latin typeface="Meiryo UI" panose="020B0604030504040204" pitchFamily="50" charset="-128"/>
                <a:ea typeface="Meiryo UI" panose="020B0604030504040204" pitchFamily="50" charset="-128"/>
              </a:rPr>
              <a:t>シームレスな移動</a:t>
            </a:r>
            <a:endParaRPr kumimoji="1" lang="en-US" altLang="ja-JP" sz="2400" b="1" dirty="0" smtClean="0">
              <a:solidFill>
                <a:schemeClr val="bg1"/>
              </a:solidFill>
              <a:effectLst>
                <a:glow rad="114300">
                  <a:schemeClr val="accent2"/>
                </a:glow>
              </a:effectLst>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0744078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 name="フリーフォーム 218"/>
          <p:cNvSpPr/>
          <p:nvPr/>
        </p:nvSpPr>
        <p:spPr bwMode="gray">
          <a:xfrm rot="5400000">
            <a:off x="6627837" y="1231512"/>
            <a:ext cx="4426010" cy="5286267"/>
          </a:xfrm>
          <a:custGeom>
            <a:avLst/>
            <a:gdLst>
              <a:gd name="connsiteX0" fmla="*/ 0 w 4426010"/>
              <a:gd name="connsiteY0" fmla="*/ 5081874 h 5286267"/>
              <a:gd name="connsiteX1" fmla="*/ 0 w 4426010"/>
              <a:gd name="connsiteY1" fmla="*/ 204393 h 5286267"/>
              <a:gd name="connsiteX2" fmla="*/ 204393 w 4426010"/>
              <a:gd name="connsiteY2" fmla="*/ 0 h 5286267"/>
              <a:gd name="connsiteX3" fmla="*/ 4221617 w 4426010"/>
              <a:gd name="connsiteY3" fmla="*/ 0 h 5286267"/>
              <a:gd name="connsiteX4" fmla="*/ 4426010 w 4426010"/>
              <a:gd name="connsiteY4" fmla="*/ 204393 h 5286267"/>
              <a:gd name="connsiteX5" fmla="*/ 4426010 w 4426010"/>
              <a:gd name="connsiteY5" fmla="*/ 5081874 h 5286267"/>
              <a:gd name="connsiteX6" fmla="*/ 4221617 w 4426010"/>
              <a:gd name="connsiteY6" fmla="*/ 5286267 h 5286267"/>
              <a:gd name="connsiteX7" fmla="*/ 3047348 w 4426010"/>
              <a:gd name="connsiteY7" fmla="*/ 5286267 h 5286267"/>
              <a:gd name="connsiteX8" fmla="*/ 2228005 w 4426010"/>
              <a:gd name="connsiteY8" fmla="*/ 4904009 h 5286267"/>
              <a:gd name="connsiteX9" fmla="*/ 1408662 w 4426010"/>
              <a:gd name="connsiteY9" fmla="*/ 5286267 h 5286267"/>
              <a:gd name="connsiteX10" fmla="*/ 204393 w 4426010"/>
              <a:gd name="connsiteY10" fmla="*/ 5286267 h 5286267"/>
              <a:gd name="connsiteX11" fmla="*/ 0 w 4426010"/>
              <a:gd name="connsiteY11" fmla="*/ 5081874 h 5286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26010" h="5286267">
                <a:moveTo>
                  <a:pt x="0" y="5081874"/>
                </a:moveTo>
                <a:lnTo>
                  <a:pt x="0" y="204393"/>
                </a:lnTo>
                <a:cubicBezTo>
                  <a:pt x="0" y="91510"/>
                  <a:pt x="91510" y="0"/>
                  <a:pt x="204393" y="0"/>
                </a:cubicBezTo>
                <a:lnTo>
                  <a:pt x="4221617" y="0"/>
                </a:lnTo>
                <a:cubicBezTo>
                  <a:pt x="4334500" y="0"/>
                  <a:pt x="4426010" y="91510"/>
                  <a:pt x="4426010" y="204393"/>
                </a:cubicBezTo>
                <a:lnTo>
                  <a:pt x="4426010" y="5081874"/>
                </a:lnTo>
                <a:cubicBezTo>
                  <a:pt x="4426010" y="5194757"/>
                  <a:pt x="4334500" y="5286267"/>
                  <a:pt x="4221617" y="5286267"/>
                </a:cubicBezTo>
                <a:lnTo>
                  <a:pt x="3047348" y="5286267"/>
                </a:lnTo>
                <a:lnTo>
                  <a:pt x="2228005" y="4904009"/>
                </a:lnTo>
                <a:lnTo>
                  <a:pt x="1408662" y="5286267"/>
                </a:lnTo>
                <a:lnTo>
                  <a:pt x="204393" y="5286267"/>
                </a:lnTo>
                <a:cubicBezTo>
                  <a:pt x="91510" y="5286267"/>
                  <a:pt x="0" y="5194757"/>
                  <a:pt x="0" y="5081874"/>
                </a:cubicBezTo>
                <a:close/>
              </a:path>
            </a:pathLst>
          </a:custGeom>
          <a:solidFill>
            <a:schemeClr val="bg1"/>
          </a:solidFill>
          <a:ln w="57150">
            <a:solidFill>
              <a:srgbClr val="A8A8E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a:p>
        </p:txBody>
      </p:sp>
      <p:sp>
        <p:nvSpPr>
          <p:cNvPr id="211" name="フリーフォーム 210"/>
          <p:cNvSpPr/>
          <p:nvPr/>
        </p:nvSpPr>
        <p:spPr bwMode="gray">
          <a:xfrm rot="5400000">
            <a:off x="1306805" y="1016823"/>
            <a:ext cx="4426010" cy="5715645"/>
          </a:xfrm>
          <a:custGeom>
            <a:avLst/>
            <a:gdLst>
              <a:gd name="connsiteX0" fmla="*/ 0 w 4426010"/>
              <a:gd name="connsiteY0" fmla="*/ 5501736 h 5715645"/>
              <a:gd name="connsiteX1" fmla="*/ 0 w 4426010"/>
              <a:gd name="connsiteY1" fmla="*/ 630281 h 5715645"/>
              <a:gd name="connsiteX2" fmla="*/ 213908 w 4426010"/>
              <a:gd name="connsiteY2" fmla="*/ 416372 h 5715645"/>
              <a:gd name="connsiteX3" fmla="*/ 1320542 w 4426010"/>
              <a:gd name="connsiteY3" fmla="*/ 416372 h 5715645"/>
              <a:gd name="connsiteX4" fmla="*/ 2213005 w 4426010"/>
              <a:gd name="connsiteY4" fmla="*/ 0 h 5715645"/>
              <a:gd name="connsiteX5" fmla="*/ 3105467 w 4426010"/>
              <a:gd name="connsiteY5" fmla="*/ 416372 h 5715645"/>
              <a:gd name="connsiteX6" fmla="*/ 4212101 w 4426010"/>
              <a:gd name="connsiteY6" fmla="*/ 416372 h 5715645"/>
              <a:gd name="connsiteX7" fmla="*/ 4426010 w 4426010"/>
              <a:gd name="connsiteY7" fmla="*/ 630281 h 5715645"/>
              <a:gd name="connsiteX8" fmla="*/ 4426010 w 4426010"/>
              <a:gd name="connsiteY8" fmla="*/ 5501736 h 5715645"/>
              <a:gd name="connsiteX9" fmla="*/ 4212101 w 4426010"/>
              <a:gd name="connsiteY9" fmla="*/ 5715645 h 5715645"/>
              <a:gd name="connsiteX10" fmla="*/ 213908 w 4426010"/>
              <a:gd name="connsiteY10" fmla="*/ 5715645 h 5715645"/>
              <a:gd name="connsiteX11" fmla="*/ 0 w 4426010"/>
              <a:gd name="connsiteY11" fmla="*/ 5501736 h 5715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26010" h="5715645">
                <a:moveTo>
                  <a:pt x="0" y="5501736"/>
                </a:moveTo>
                <a:lnTo>
                  <a:pt x="0" y="630281"/>
                </a:lnTo>
                <a:cubicBezTo>
                  <a:pt x="0" y="512142"/>
                  <a:pt x="95770" y="416372"/>
                  <a:pt x="213908" y="416372"/>
                </a:cubicBezTo>
                <a:lnTo>
                  <a:pt x="1320542" y="416372"/>
                </a:lnTo>
                <a:lnTo>
                  <a:pt x="2213005" y="0"/>
                </a:lnTo>
                <a:lnTo>
                  <a:pt x="3105467" y="416372"/>
                </a:lnTo>
                <a:lnTo>
                  <a:pt x="4212101" y="416372"/>
                </a:lnTo>
                <a:cubicBezTo>
                  <a:pt x="4330240" y="416372"/>
                  <a:pt x="4426010" y="512142"/>
                  <a:pt x="4426010" y="630281"/>
                </a:cubicBezTo>
                <a:lnTo>
                  <a:pt x="4426010" y="5501736"/>
                </a:lnTo>
                <a:cubicBezTo>
                  <a:pt x="4426010" y="5619875"/>
                  <a:pt x="4330240" y="5715645"/>
                  <a:pt x="4212101" y="5715645"/>
                </a:cubicBezTo>
                <a:lnTo>
                  <a:pt x="213908" y="5715645"/>
                </a:lnTo>
                <a:cubicBezTo>
                  <a:pt x="95770" y="5715645"/>
                  <a:pt x="0" y="5619875"/>
                  <a:pt x="0" y="5501736"/>
                </a:cubicBezTo>
                <a:close/>
              </a:path>
            </a:pathLst>
          </a:custGeom>
          <a:solidFill>
            <a:schemeClr val="bg1"/>
          </a:solidFill>
          <a:ln w="57150">
            <a:solidFill>
              <a:srgbClr val="D9D9D9"/>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a:p>
        </p:txBody>
      </p:sp>
      <p:pic>
        <p:nvPicPr>
          <p:cNvPr id="460" name="Picture 554"/>
          <p:cNvPicPr>
            <a:picLocks noChangeAspect="1"/>
          </p:cNvPicPr>
          <p:nvPr/>
        </p:nvPicPr>
        <p:blipFill rotWithShape="1">
          <a:blip r:embed="rId3"/>
          <a:srcRect l="1182" r="1182"/>
          <a:stretch/>
        </p:blipFill>
        <p:spPr>
          <a:xfrm>
            <a:off x="9212034" y="2422077"/>
            <a:ext cx="790110" cy="778328"/>
          </a:xfrm>
          <a:prstGeom prst="ellipse">
            <a:avLst/>
          </a:prstGeom>
          <a:grpFill/>
          <a:ln w="38100">
            <a:solidFill>
              <a:schemeClr val="accent5"/>
            </a:solidFill>
          </a:ln>
        </p:spPr>
      </p:pic>
      <p:sp>
        <p:nvSpPr>
          <p:cNvPr id="226" name="タイトル 1"/>
          <p:cNvSpPr>
            <a:spLocks noGrp="1"/>
          </p:cNvSpPr>
          <p:nvPr>
            <p:ph type="ctrTitle"/>
          </p:nvPr>
        </p:nvSpPr>
        <p:spPr/>
        <p:txBody>
          <a:bodyPr/>
          <a:lstStyle/>
          <a:p>
            <a:r>
              <a:rPr lang="en-US" altLang="ja-JP" dirty="0">
                <a:latin typeface="Meiryo UI" panose="020B0604030504040204" pitchFamily="50" charset="-128"/>
              </a:rPr>
              <a:t>2-2. Osaka</a:t>
            </a:r>
            <a:r>
              <a:rPr lang="ja-JP" altLang="en-US" dirty="0">
                <a:latin typeface="Meiryo UI" panose="020B0604030504040204" pitchFamily="50" charset="-128"/>
              </a:rPr>
              <a:t> </a:t>
            </a:r>
            <a:r>
              <a:rPr lang="en-US" altLang="ja-JP" dirty="0">
                <a:latin typeface="Meiryo UI" panose="020B0604030504040204" pitchFamily="50" charset="-128"/>
              </a:rPr>
              <a:t>Metro</a:t>
            </a:r>
            <a:r>
              <a:rPr lang="ja-JP" altLang="en-US" dirty="0">
                <a:latin typeface="Meiryo UI" panose="020B0604030504040204" pitchFamily="50" charset="-128"/>
              </a:rPr>
              <a:t>が目指す都市型</a:t>
            </a:r>
            <a:r>
              <a:rPr lang="en-US" altLang="ja-JP" dirty="0" err="1">
                <a:latin typeface="Meiryo UI" panose="020B0604030504040204" pitchFamily="50" charset="-128"/>
              </a:rPr>
              <a:t>MaaS</a:t>
            </a:r>
            <a:endParaRPr lang="en-US" altLang="ja-JP" dirty="0">
              <a:latin typeface="Meiryo UI" panose="020B0604030504040204" pitchFamily="50" charset="-128"/>
            </a:endParaRPr>
          </a:p>
        </p:txBody>
      </p:sp>
      <p:sp>
        <p:nvSpPr>
          <p:cNvPr id="4" name="サブタイトル 3"/>
          <p:cNvSpPr>
            <a:spLocks noGrp="1"/>
          </p:cNvSpPr>
          <p:nvPr>
            <p:ph type="subTitle" idx="1"/>
          </p:nvPr>
        </p:nvSpPr>
        <p:spPr/>
        <p:txBody>
          <a:bodyPr/>
          <a:lstStyle/>
          <a:p>
            <a:r>
              <a:rPr kumimoji="0" lang="ja-JP" altLang="en-US" dirty="0">
                <a:latin typeface="Meiryo UI"/>
                <a:ea typeface="Meiryo UI"/>
                <a:cs typeface="+mn-cs"/>
                <a:sym typeface="+mn-lt"/>
              </a:rPr>
              <a:t>来ていただく交通からお客さまのニーズに応じて迎えに来る交通へ</a:t>
            </a:r>
            <a:r>
              <a:rPr kumimoji="0" lang="ja-JP" altLang="en-US" dirty="0" smtClean="0">
                <a:latin typeface="Meiryo UI"/>
                <a:ea typeface="Meiryo UI"/>
                <a:cs typeface="+mn-cs"/>
                <a:sym typeface="+mn-lt"/>
              </a:rPr>
              <a:t>の大変革　</a:t>
            </a:r>
            <a:endParaRPr kumimoji="0" lang="ja-JP" altLang="en-US" dirty="0">
              <a:latin typeface="Meiryo UI"/>
              <a:ea typeface="Meiryo UI"/>
              <a:cs typeface="+mn-cs"/>
              <a:sym typeface="+mn-lt"/>
            </a:endParaRPr>
          </a:p>
        </p:txBody>
      </p:sp>
      <p:sp>
        <p:nvSpPr>
          <p:cNvPr id="459" name="Rectangle 1189"/>
          <p:cNvSpPr/>
          <p:nvPr/>
        </p:nvSpPr>
        <p:spPr bwMode="auto">
          <a:xfrm>
            <a:off x="8654860" y="2540522"/>
            <a:ext cx="904011" cy="333827"/>
          </a:xfrm>
          <a:prstGeom prst="rect">
            <a:avLst/>
          </a:prstGeom>
          <a:noFill/>
          <a:ln w="9525" algn="ctr">
            <a:noFill/>
            <a:miter lim="800000"/>
            <a:headEnd/>
            <a:tailEnd/>
          </a:ln>
          <a:extLst>
            <a:ext uri="{909E8E84-426E-40DD-AFC4-6F175D3DCCD1}">
              <a14:hiddenFill xmlns:a14="http://schemas.microsoft.com/office/drawing/2010/main">
                <a:solidFill>
                  <a:schemeClr val="bg1">
                    <a:lumMod val="95000"/>
                  </a:schemeClr>
                </a:solidFill>
              </a14:hiddenFill>
            </a:ext>
            <a:ext uri="{91240B29-F687-4F45-9708-019B960494DF}">
              <a14:hiddenLine xmlns:a14="http://schemas.microsoft.com/office/drawing/2010/main" w="9525" algn="ctr">
                <a:solidFill>
                  <a:srgbClr val="E2E2E2"/>
                </a:solidFill>
                <a:miter lim="800000"/>
                <a:headEnd/>
                <a:tailEnd/>
              </a14:hiddenLine>
            </a:ext>
          </a:extLst>
        </p:spPr>
        <p:txBody>
          <a:bodyPr wrap="none" lIns="2074" tIns="622" rIns="2074" bIns="622"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969696"/>
              </a:buClr>
              <a:buSzPct val="80000"/>
              <a:defRPr/>
            </a:pPr>
            <a:r>
              <a:rPr kumimoji="0" lang="ja-JP" altLang="en-US" sz="1000" dirty="0">
                <a:latin typeface="Meiryo UI" panose="020B0604030504040204" pitchFamily="50" charset="-128"/>
                <a:ea typeface="Meiryo UI" panose="020B0604030504040204" pitchFamily="50" charset="-128"/>
              </a:rPr>
              <a:t>路線バス</a:t>
            </a:r>
            <a:endParaRPr kumimoji="0" lang="en-US" altLang="ja-JP" sz="1000" dirty="0">
              <a:latin typeface="Meiryo UI" panose="020B0604030504040204" pitchFamily="50" charset="-128"/>
              <a:ea typeface="Meiryo UI" panose="020B0604030504040204" pitchFamily="50" charset="-128"/>
            </a:endParaRPr>
          </a:p>
        </p:txBody>
      </p:sp>
      <p:sp>
        <p:nvSpPr>
          <p:cNvPr id="135" name="Rectangle 1189"/>
          <p:cNvSpPr/>
          <p:nvPr/>
        </p:nvSpPr>
        <p:spPr bwMode="auto">
          <a:xfrm>
            <a:off x="3312327" y="2521255"/>
            <a:ext cx="640051" cy="228231"/>
          </a:xfrm>
          <a:prstGeom prst="rect">
            <a:avLst/>
          </a:prstGeom>
          <a:noFill/>
          <a:ln w="9525" algn="ctr">
            <a:noFill/>
            <a:miter lim="800000"/>
            <a:headEnd/>
            <a:tailEnd/>
          </a:ln>
          <a:extLst>
            <a:ext uri="{909E8E84-426E-40DD-AFC4-6F175D3DCCD1}">
              <a14:hiddenFill xmlns:a14="http://schemas.microsoft.com/office/drawing/2010/main">
                <a:solidFill>
                  <a:schemeClr val="bg1">
                    <a:lumMod val="95000"/>
                  </a:schemeClr>
                </a:solidFill>
              </a14:hiddenFill>
            </a:ext>
            <a:ext uri="{91240B29-F687-4F45-9708-019B960494DF}">
              <a14:hiddenLine xmlns:a14="http://schemas.microsoft.com/office/drawing/2010/main" w="9525" algn="ctr">
                <a:solidFill>
                  <a:srgbClr val="E2E2E2"/>
                </a:solidFill>
                <a:miter lim="800000"/>
                <a:headEnd/>
                <a:tailEnd/>
              </a14:hiddenLine>
            </a:ext>
          </a:extLst>
        </p:spPr>
        <p:txBody>
          <a:bodyPr wrap="none" lIns="2195" tIns="660" rIns="2195" bIns="660" rtlCol="0" anchor="ctr"/>
          <a:lstStyle/>
          <a:p>
            <a:pPr>
              <a:buClr>
                <a:srgbClr val="969696"/>
              </a:buClr>
              <a:buSzPct val="80000"/>
              <a:defRPr/>
            </a:pPr>
            <a:r>
              <a:rPr kumimoji="0" lang="ja-JP" altLang="en-US" sz="1000" dirty="0">
                <a:latin typeface="Meiryo UI"/>
                <a:ea typeface="Meiryo UI"/>
              </a:rPr>
              <a:t>路線バス</a:t>
            </a:r>
            <a:endParaRPr kumimoji="0" lang="en-US" altLang="ja-JP" sz="1000" dirty="0">
              <a:latin typeface="Meiryo UI"/>
              <a:ea typeface="Meiryo UI"/>
            </a:endParaRPr>
          </a:p>
        </p:txBody>
      </p:sp>
      <p:pic>
        <p:nvPicPr>
          <p:cNvPr id="136" name="Picture 509"/>
          <p:cNvPicPr>
            <a:picLocks noChangeAspect="1"/>
          </p:cNvPicPr>
          <p:nvPr/>
        </p:nvPicPr>
        <p:blipFill rotWithShape="1">
          <a:blip r:embed="rId3"/>
          <a:srcRect l="1182" r="1182"/>
          <a:stretch/>
        </p:blipFill>
        <p:spPr>
          <a:xfrm>
            <a:off x="3753248" y="2607558"/>
            <a:ext cx="820448" cy="775590"/>
          </a:xfrm>
          <a:prstGeom prst="ellipse">
            <a:avLst/>
          </a:prstGeom>
          <a:solidFill>
            <a:schemeClr val="accent5"/>
          </a:solidFill>
          <a:ln w="38100">
            <a:solidFill>
              <a:schemeClr val="accent5"/>
            </a:solidFill>
          </a:ln>
        </p:spPr>
      </p:pic>
      <p:grpSp>
        <p:nvGrpSpPr>
          <p:cNvPr id="27" name="Group 368"/>
          <p:cNvGrpSpPr/>
          <p:nvPr/>
        </p:nvGrpSpPr>
        <p:grpSpPr>
          <a:xfrm>
            <a:off x="1196816" y="3071952"/>
            <a:ext cx="3241461" cy="2599766"/>
            <a:chOff x="708025" y="2530475"/>
            <a:chExt cx="1732709" cy="1468438"/>
          </a:xfrm>
        </p:grpSpPr>
        <p:cxnSp>
          <p:nvCxnSpPr>
            <p:cNvPr id="115" name="Straight Connector 487"/>
            <p:cNvCxnSpPr/>
            <p:nvPr/>
          </p:nvCxnSpPr>
          <p:spPr>
            <a:xfrm flipH="1">
              <a:off x="1366915" y="2530475"/>
              <a:ext cx="347955" cy="384066"/>
            </a:xfrm>
            <a:prstGeom prst="line">
              <a:avLst/>
            </a:prstGeom>
            <a:ln w="28575" cap="rnd"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6" name="Straight Connector 488"/>
            <p:cNvCxnSpPr/>
            <p:nvPr/>
          </p:nvCxnSpPr>
          <p:spPr>
            <a:xfrm flipV="1">
              <a:off x="1102847" y="2756006"/>
              <a:ext cx="1097567" cy="1086515"/>
            </a:xfrm>
            <a:prstGeom prst="line">
              <a:avLst/>
            </a:prstGeom>
            <a:ln w="28575" cap="rnd"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7" name="Straight Connector 489"/>
            <p:cNvCxnSpPr/>
            <p:nvPr/>
          </p:nvCxnSpPr>
          <p:spPr>
            <a:xfrm>
              <a:off x="981075" y="2640047"/>
              <a:ext cx="1442411" cy="982944"/>
            </a:xfrm>
            <a:prstGeom prst="line">
              <a:avLst/>
            </a:prstGeom>
            <a:ln w="28575" cap="rnd"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8" name="Straight Connector 490"/>
            <p:cNvCxnSpPr/>
            <p:nvPr/>
          </p:nvCxnSpPr>
          <p:spPr>
            <a:xfrm flipH="1">
              <a:off x="2131995" y="3094290"/>
              <a:ext cx="308739" cy="325482"/>
            </a:xfrm>
            <a:prstGeom prst="line">
              <a:avLst/>
            </a:prstGeom>
            <a:ln w="28575" cap="rnd"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Straight Connector 491"/>
            <p:cNvCxnSpPr/>
            <p:nvPr/>
          </p:nvCxnSpPr>
          <p:spPr>
            <a:xfrm flipH="1">
              <a:off x="2029081" y="3016548"/>
              <a:ext cx="350582" cy="331486"/>
            </a:xfrm>
            <a:prstGeom prst="line">
              <a:avLst/>
            </a:prstGeom>
            <a:ln w="28575" cap="rnd"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0" name="Straight Connector 492"/>
            <p:cNvCxnSpPr/>
            <p:nvPr/>
          </p:nvCxnSpPr>
          <p:spPr>
            <a:xfrm flipH="1" flipV="1">
              <a:off x="1263860" y="2660642"/>
              <a:ext cx="868135" cy="584283"/>
            </a:xfrm>
            <a:prstGeom prst="line">
              <a:avLst/>
            </a:prstGeom>
            <a:ln w="28575" cap="rnd"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493"/>
            <p:cNvCxnSpPr/>
            <p:nvPr/>
          </p:nvCxnSpPr>
          <p:spPr>
            <a:xfrm flipH="1">
              <a:off x="1599068" y="2660642"/>
              <a:ext cx="361307" cy="389072"/>
            </a:xfrm>
            <a:prstGeom prst="line">
              <a:avLst/>
            </a:prstGeom>
            <a:ln w="28575" cap="rnd"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2" name="Straight Connector 494"/>
            <p:cNvCxnSpPr/>
            <p:nvPr/>
          </p:nvCxnSpPr>
          <p:spPr>
            <a:xfrm flipH="1" flipV="1">
              <a:off x="1767377" y="2876687"/>
              <a:ext cx="175751" cy="127651"/>
            </a:xfrm>
            <a:prstGeom prst="line">
              <a:avLst/>
            </a:prstGeom>
            <a:ln w="28575" cap="rnd"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3" name="Straight Connector 495"/>
            <p:cNvCxnSpPr/>
            <p:nvPr/>
          </p:nvCxnSpPr>
          <p:spPr>
            <a:xfrm flipH="1">
              <a:off x="2021768" y="2907321"/>
              <a:ext cx="281695" cy="261120"/>
            </a:xfrm>
            <a:prstGeom prst="line">
              <a:avLst/>
            </a:prstGeom>
            <a:ln w="28575" cap="rnd"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4" name="Straight Connector 496"/>
            <p:cNvCxnSpPr/>
            <p:nvPr/>
          </p:nvCxnSpPr>
          <p:spPr>
            <a:xfrm>
              <a:off x="792163" y="2848007"/>
              <a:ext cx="800125" cy="513339"/>
            </a:xfrm>
            <a:prstGeom prst="line">
              <a:avLst/>
            </a:prstGeom>
            <a:ln w="28575" cap="rnd"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5" name="Straight Connector 497"/>
            <p:cNvCxnSpPr/>
            <p:nvPr/>
          </p:nvCxnSpPr>
          <p:spPr>
            <a:xfrm flipH="1">
              <a:off x="975204" y="3223868"/>
              <a:ext cx="405780" cy="437832"/>
            </a:xfrm>
            <a:prstGeom prst="line">
              <a:avLst/>
            </a:prstGeom>
            <a:ln w="28575" cap="rnd"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6" name="Straight Connector 498"/>
            <p:cNvCxnSpPr/>
            <p:nvPr/>
          </p:nvCxnSpPr>
          <p:spPr>
            <a:xfrm flipH="1">
              <a:off x="833669" y="3090876"/>
              <a:ext cx="340537" cy="377919"/>
            </a:xfrm>
            <a:prstGeom prst="line">
              <a:avLst/>
            </a:prstGeom>
            <a:ln w="28575" cap="rnd"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7" name="Straight Connector 499"/>
            <p:cNvCxnSpPr/>
            <p:nvPr/>
          </p:nvCxnSpPr>
          <p:spPr>
            <a:xfrm>
              <a:off x="708025" y="3040021"/>
              <a:ext cx="291049" cy="239273"/>
            </a:xfrm>
            <a:prstGeom prst="line">
              <a:avLst/>
            </a:prstGeom>
            <a:ln w="28575" cap="rnd"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 name="Straight Connector 500"/>
            <p:cNvCxnSpPr/>
            <p:nvPr/>
          </p:nvCxnSpPr>
          <p:spPr>
            <a:xfrm>
              <a:off x="1072040" y="3204630"/>
              <a:ext cx="206047" cy="136747"/>
            </a:xfrm>
            <a:prstGeom prst="line">
              <a:avLst/>
            </a:prstGeom>
            <a:ln w="28575" cap="rnd"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9" name="Straight Connector 501"/>
            <p:cNvCxnSpPr/>
            <p:nvPr/>
          </p:nvCxnSpPr>
          <p:spPr>
            <a:xfrm>
              <a:off x="950182" y="3331667"/>
              <a:ext cx="198187" cy="142341"/>
            </a:xfrm>
            <a:prstGeom prst="line">
              <a:avLst/>
            </a:prstGeom>
            <a:ln w="28575" cap="rnd"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0" name="Straight Connector 502"/>
            <p:cNvCxnSpPr/>
            <p:nvPr/>
          </p:nvCxnSpPr>
          <p:spPr>
            <a:xfrm>
              <a:off x="1279965" y="3337858"/>
              <a:ext cx="189724" cy="128903"/>
            </a:xfrm>
            <a:prstGeom prst="line">
              <a:avLst/>
            </a:prstGeom>
            <a:ln w="28575" cap="rnd"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1" name="Straight Connector 503"/>
            <p:cNvCxnSpPr/>
            <p:nvPr/>
          </p:nvCxnSpPr>
          <p:spPr>
            <a:xfrm>
              <a:off x="1068352" y="3561638"/>
              <a:ext cx="171620" cy="141818"/>
            </a:xfrm>
            <a:prstGeom prst="line">
              <a:avLst/>
            </a:prstGeom>
            <a:ln w="28575" cap="rnd"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2" name="Freeform 504"/>
            <p:cNvSpPr/>
            <p:nvPr/>
          </p:nvSpPr>
          <p:spPr bwMode="auto">
            <a:xfrm>
              <a:off x="1234092" y="3466710"/>
              <a:ext cx="413608" cy="324370"/>
            </a:xfrm>
            <a:custGeom>
              <a:avLst/>
              <a:gdLst>
                <a:gd name="connsiteX0" fmla="*/ 577850 w 950144"/>
                <a:gd name="connsiteY0" fmla="*/ 0 h 689499"/>
                <a:gd name="connsiteX1" fmla="*/ 927100 w 950144"/>
                <a:gd name="connsiteY1" fmla="*/ 647700 h 689499"/>
                <a:gd name="connsiteX2" fmla="*/ 0 w 950144"/>
                <a:gd name="connsiteY2" fmla="*/ 571500 h 689499"/>
                <a:gd name="connsiteX0" fmla="*/ 577850 w 950144"/>
                <a:gd name="connsiteY0" fmla="*/ 0 h 779666"/>
                <a:gd name="connsiteX1" fmla="*/ 927100 w 950144"/>
                <a:gd name="connsiteY1" fmla="*/ 647700 h 779666"/>
                <a:gd name="connsiteX2" fmla="*/ 0 w 950144"/>
                <a:gd name="connsiteY2" fmla="*/ 571500 h 779666"/>
                <a:gd name="connsiteX0" fmla="*/ 577850 w 993064"/>
                <a:gd name="connsiteY0" fmla="*/ 0 h 779666"/>
                <a:gd name="connsiteX1" fmla="*/ 927100 w 993064"/>
                <a:gd name="connsiteY1" fmla="*/ 647700 h 779666"/>
                <a:gd name="connsiteX2" fmla="*/ 0 w 993064"/>
                <a:gd name="connsiteY2" fmla="*/ 571500 h 779666"/>
              </a:gdLst>
              <a:ahLst/>
              <a:cxnLst>
                <a:cxn ang="0">
                  <a:pos x="connsiteX0" y="connsiteY0"/>
                </a:cxn>
                <a:cxn ang="0">
                  <a:pos x="connsiteX1" y="connsiteY1"/>
                </a:cxn>
                <a:cxn ang="0">
                  <a:pos x="connsiteX2" y="connsiteY2"/>
                </a:cxn>
              </a:cxnLst>
              <a:rect l="l" t="t" r="r" b="b"/>
              <a:pathLst>
                <a:path w="993064" h="779666">
                  <a:moveTo>
                    <a:pt x="577850" y="0"/>
                  </a:moveTo>
                  <a:cubicBezTo>
                    <a:pt x="1086379" y="225425"/>
                    <a:pt x="1023408" y="552450"/>
                    <a:pt x="927100" y="647700"/>
                  </a:cubicBezTo>
                  <a:cubicBezTo>
                    <a:pt x="830792" y="742950"/>
                    <a:pt x="599546" y="923925"/>
                    <a:pt x="0" y="571500"/>
                  </a:cubicBezTo>
                </a:path>
              </a:pathLst>
            </a:custGeom>
            <a:ln w="28575" cap="rnd"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lIns="16459" tIns="8230" rIns="16459" bIns="8230" rtlCol="0" anchor="ctr"/>
            <a:lstStyle/>
            <a:p>
              <a:pPr algn="ctr">
                <a:defRPr/>
              </a:pPr>
              <a:endParaRPr lang="en-US" sz="2800">
                <a:solidFill>
                  <a:prstClr val="black"/>
                </a:solidFill>
                <a:latin typeface="Trebuchet MS"/>
                <a:ea typeface="Meiryo UI"/>
              </a:endParaRPr>
            </a:p>
          </p:txBody>
        </p:sp>
        <p:sp>
          <p:nvSpPr>
            <p:cNvPr id="133" name="Freeform 505"/>
            <p:cNvSpPr/>
            <p:nvPr/>
          </p:nvSpPr>
          <p:spPr bwMode="auto">
            <a:xfrm>
              <a:off x="1590675" y="3605213"/>
              <a:ext cx="644525" cy="393700"/>
            </a:xfrm>
            <a:custGeom>
              <a:avLst/>
              <a:gdLst>
                <a:gd name="connsiteX0" fmla="*/ 0 w 644525"/>
                <a:gd name="connsiteY0" fmla="*/ 393700 h 393700"/>
                <a:gd name="connsiteX1" fmla="*/ 317500 w 644525"/>
                <a:gd name="connsiteY1" fmla="*/ 0 h 393700"/>
                <a:gd name="connsiteX2" fmla="*/ 644525 w 644525"/>
                <a:gd name="connsiteY2" fmla="*/ 209550 h 393700"/>
              </a:gdLst>
              <a:ahLst/>
              <a:cxnLst>
                <a:cxn ang="0">
                  <a:pos x="connsiteX0" y="connsiteY0"/>
                </a:cxn>
                <a:cxn ang="0">
                  <a:pos x="connsiteX1" y="connsiteY1"/>
                </a:cxn>
                <a:cxn ang="0">
                  <a:pos x="connsiteX2" y="connsiteY2"/>
                </a:cxn>
              </a:cxnLst>
              <a:rect l="l" t="t" r="r" b="b"/>
              <a:pathLst>
                <a:path w="644525" h="393700">
                  <a:moveTo>
                    <a:pt x="0" y="393700"/>
                  </a:moveTo>
                  <a:lnTo>
                    <a:pt x="317500" y="0"/>
                  </a:lnTo>
                  <a:lnTo>
                    <a:pt x="644525" y="209550"/>
                  </a:lnTo>
                </a:path>
              </a:pathLst>
            </a:custGeom>
            <a:ln w="28575" cap="rnd"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lIns="21946" tIns="10973" rIns="21946" bIns="10973" rtlCol="0" anchor="ctr"/>
            <a:lstStyle/>
            <a:p>
              <a:pPr algn="ctr">
                <a:defRPr/>
              </a:pPr>
              <a:endParaRPr lang="en-US" sz="3200">
                <a:solidFill>
                  <a:prstClr val="black"/>
                </a:solidFill>
                <a:latin typeface="Trebuchet MS"/>
                <a:ea typeface="Meiryo UI"/>
              </a:endParaRPr>
            </a:p>
          </p:txBody>
        </p:sp>
        <p:sp>
          <p:nvSpPr>
            <p:cNvPr id="134" name="Freeform 506"/>
            <p:cNvSpPr/>
            <p:nvPr/>
          </p:nvSpPr>
          <p:spPr bwMode="auto">
            <a:xfrm>
              <a:off x="1066799" y="2552700"/>
              <a:ext cx="733425" cy="295275"/>
            </a:xfrm>
            <a:custGeom>
              <a:avLst/>
              <a:gdLst>
                <a:gd name="connsiteX0" fmla="*/ 0 w 723900"/>
                <a:gd name="connsiteY0" fmla="*/ 295275 h 295275"/>
                <a:gd name="connsiteX1" fmla="*/ 309563 w 723900"/>
                <a:gd name="connsiteY1" fmla="*/ 0 h 295275"/>
                <a:gd name="connsiteX2" fmla="*/ 723900 w 723900"/>
                <a:gd name="connsiteY2" fmla="*/ 268288 h 295275"/>
              </a:gdLst>
              <a:ahLst/>
              <a:cxnLst>
                <a:cxn ang="0">
                  <a:pos x="connsiteX0" y="connsiteY0"/>
                </a:cxn>
                <a:cxn ang="0">
                  <a:pos x="connsiteX1" y="connsiteY1"/>
                </a:cxn>
                <a:cxn ang="0">
                  <a:pos x="connsiteX2" y="connsiteY2"/>
                </a:cxn>
              </a:cxnLst>
              <a:rect l="l" t="t" r="r" b="b"/>
              <a:pathLst>
                <a:path w="723900" h="295275">
                  <a:moveTo>
                    <a:pt x="0" y="295275"/>
                  </a:moveTo>
                  <a:lnTo>
                    <a:pt x="309563" y="0"/>
                  </a:lnTo>
                  <a:lnTo>
                    <a:pt x="723900" y="268288"/>
                  </a:lnTo>
                </a:path>
              </a:pathLst>
            </a:custGeom>
            <a:ln w="28575" cap="rnd"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en-US">
                <a:solidFill>
                  <a:prstClr val="black"/>
                </a:solidFill>
                <a:latin typeface="Trebuchet MS"/>
                <a:ea typeface="Meiryo UI"/>
              </a:endParaRPr>
            </a:p>
          </p:txBody>
        </p:sp>
      </p:grpSp>
      <p:sp>
        <p:nvSpPr>
          <p:cNvPr id="28" name="Oval 369"/>
          <p:cNvSpPr/>
          <p:nvPr/>
        </p:nvSpPr>
        <p:spPr bwMode="auto">
          <a:xfrm rot="1018853">
            <a:off x="1127254" y="3049057"/>
            <a:ext cx="3393849" cy="2605504"/>
          </a:xfrm>
          <a:prstGeom prst="ellipse">
            <a:avLst/>
          </a:prstGeom>
          <a:solidFill>
            <a:srgbClr val="E3A7A8">
              <a:alpha val="80000"/>
            </a:srgbClr>
          </a:solidFill>
          <a:ln w="254000" cap="flat" cmpd="sng" algn="ctr">
            <a:noFill/>
            <a:prstDash val="solid"/>
            <a:miter lim="800000"/>
            <a:headEnd type="none" w="med" len="med"/>
            <a:tailEnd type="none" w="med" len="med"/>
          </a:ln>
        </p:spPr>
        <p:txBody>
          <a:bodyPr wrap="none" lIns="6480" tIns="1944" rIns="6480" bIns="1944" rtlCol="0" anchor="ctr"/>
          <a:lstStyle/>
          <a:p>
            <a:pPr marL="185738" indent="-185738" algn="ctr">
              <a:buClr>
                <a:srgbClr val="969696"/>
              </a:buClr>
              <a:buSzPct val="80000"/>
              <a:defRPr/>
            </a:pPr>
            <a:endParaRPr kumimoji="0" lang="en-US" sz="2000" dirty="0">
              <a:solidFill>
                <a:prstClr val="black"/>
              </a:solidFill>
              <a:latin typeface="Meiryo UI"/>
              <a:ea typeface="Meiryo UI"/>
            </a:endParaRPr>
          </a:p>
        </p:txBody>
      </p:sp>
      <p:sp>
        <p:nvSpPr>
          <p:cNvPr id="29" name="Arc 370"/>
          <p:cNvSpPr/>
          <p:nvPr/>
        </p:nvSpPr>
        <p:spPr>
          <a:xfrm rot="15340106">
            <a:off x="3998526" y="3873116"/>
            <a:ext cx="873840" cy="938511"/>
          </a:xfrm>
          <a:prstGeom prst="arc">
            <a:avLst>
              <a:gd name="adj1" fmla="val 11361457"/>
              <a:gd name="adj2" fmla="val 212727"/>
            </a:avLst>
          </a:prstGeom>
          <a:solidFill>
            <a:srgbClr val="7CD27A">
              <a:alpha val="60000"/>
            </a:srgbClr>
          </a:solidFill>
          <a:ln w="5080" cap="flat" cmpd="sng" algn="ctr">
            <a:noFill/>
            <a:prstDash val="sysDash"/>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lIns="21946" tIns="10973" rIns="21946" bIns="10973" rtlCol="0" anchor="ctr"/>
          <a:lstStyle/>
          <a:p>
            <a:pPr algn="ctr">
              <a:defRPr/>
            </a:pPr>
            <a:endParaRPr lang="en-US" sz="2400">
              <a:solidFill>
                <a:prstClr val="black"/>
              </a:solidFill>
              <a:latin typeface="Trebuchet MS"/>
              <a:ea typeface="Meiryo UI"/>
            </a:endParaRPr>
          </a:p>
        </p:txBody>
      </p:sp>
      <p:sp>
        <p:nvSpPr>
          <p:cNvPr id="30" name="Arc 1235"/>
          <p:cNvSpPr/>
          <p:nvPr/>
        </p:nvSpPr>
        <p:spPr>
          <a:xfrm>
            <a:off x="2344517" y="5225689"/>
            <a:ext cx="924378" cy="887203"/>
          </a:xfrm>
          <a:prstGeom prst="arc">
            <a:avLst>
              <a:gd name="adj1" fmla="val 11361457"/>
              <a:gd name="adj2" fmla="val 230993"/>
            </a:avLst>
          </a:prstGeom>
          <a:solidFill>
            <a:srgbClr val="7CD27A">
              <a:alpha val="60000"/>
            </a:srgbClr>
          </a:solidFill>
          <a:ln w="5080" cap="flat" cmpd="sng" algn="ctr">
            <a:noFill/>
            <a:prstDash val="sysDash"/>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lIns="21946" tIns="10973" rIns="21946" bIns="10973" rtlCol="0" anchor="ctr"/>
          <a:lstStyle/>
          <a:p>
            <a:pPr algn="ctr">
              <a:defRPr/>
            </a:pPr>
            <a:endParaRPr lang="en-US" sz="2400">
              <a:solidFill>
                <a:prstClr val="black"/>
              </a:solidFill>
              <a:latin typeface="Trebuchet MS"/>
              <a:ea typeface="Meiryo UI"/>
            </a:endParaRPr>
          </a:p>
        </p:txBody>
      </p:sp>
      <p:sp>
        <p:nvSpPr>
          <p:cNvPr id="31" name="Arc 1235"/>
          <p:cNvSpPr/>
          <p:nvPr/>
        </p:nvSpPr>
        <p:spPr>
          <a:xfrm rot="2895675">
            <a:off x="1008892" y="4416980"/>
            <a:ext cx="874808" cy="937475"/>
          </a:xfrm>
          <a:prstGeom prst="arc">
            <a:avLst>
              <a:gd name="adj1" fmla="val 11361457"/>
              <a:gd name="adj2" fmla="val 230993"/>
            </a:avLst>
          </a:prstGeom>
          <a:solidFill>
            <a:srgbClr val="7CD27A">
              <a:alpha val="60000"/>
            </a:srgbClr>
          </a:solidFill>
          <a:ln w="5080" cap="flat" cmpd="sng" algn="ctr">
            <a:noFill/>
            <a:prstDash val="sysDash"/>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lIns="21946" tIns="10973" rIns="21946" bIns="10973" rtlCol="0" anchor="ctr"/>
          <a:lstStyle/>
          <a:p>
            <a:pPr algn="ctr">
              <a:defRPr/>
            </a:pPr>
            <a:endParaRPr lang="en-US" sz="2400">
              <a:solidFill>
                <a:prstClr val="black"/>
              </a:solidFill>
              <a:latin typeface="Trebuchet MS"/>
              <a:ea typeface="Meiryo UI"/>
            </a:endParaRPr>
          </a:p>
        </p:txBody>
      </p:sp>
      <p:sp>
        <p:nvSpPr>
          <p:cNvPr id="32" name="Arc 373"/>
          <p:cNvSpPr/>
          <p:nvPr/>
        </p:nvSpPr>
        <p:spPr>
          <a:xfrm rot="12155866">
            <a:off x="2962604" y="2760712"/>
            <a:ext cx="923354" cy="888184"/>
          </a:xfrm>
          <a:prstGeom prst="arc">
            <a:avLst>
              <a:gd name="adj1" fmla="val 11361457"/>
              <a:gd name="adj2" fmla="val 212727"/>
            </a:avLst>
          </a:prstGeom>
          <a:solidFill>
            <a:srgbClr val="7CD27A">
              <a:alpha val="60000"/>
            </a:srgbClr>
          </a:solidFill>
          <a:ln w="5080" cap="flat" cmpd="sng" algn="ctr">
            <a:noFill/>
            <a:prstDash val="sysDash"/>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lIns="21946" tIns="10973" rIns="21946" bIns="10973" rtlCol="0" anchor="ctr"/>
          <a:lstStyle/>
          <a:p>
            <a:pPr algn="ctr">
              <a:defRPr/>
            </a:pPr>
            <a:endParaRPr lang="en-US" sz="2400">
              <a:solidFill>
                <a:prstClr val="black"/>
              </a:solidFill>
              <a:latin typeface="Trebuchet MS"/>
              <a:ea typeface="Meiryo UI"/>
            </a:endParaRPr>
          </a:p>
        </p:txBody>
      </p:sp>
      <p:sp>
        <p:nvSpPr>
          <p:cNvPr id="33" name="Oval 374"/>
          <p:cNvSpPr/>
          <p:nvPr/>
        </p:nvSpPr>
        <p:spPr bwMode="auto">
          <a:xfrm rot="1018853">
            <a:off x="1127254" y="3049057"/>
            <a:ext cx="3393849" cy="2605504"/>
          </a:xfrm>
          <a:prstGeom prst="ellipse">
            <a:avLst/>
          </a:prstGeom>
          <a:ln w="5715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wrap="none" lIns="6480" tIns="1944" rIns="6480" bIns="1944" rtlCol="0" anchor="ctr"/>
          <a:lstStyle/>
          <a:p>
            <a:pPr marL="185738" indent="-185738" algn="ctr">
              <a:buClr>
                <a:srgbClr val="969696"/>
              </a:buClr>
              <a:buSzPct val="80000"/>
              <a:defRPr/>
            </a:pPr>
            <a:endParaRPr kumimoji="0" lang="en-US" sz="2000" dirty="0">
              <a:solidFill>
                <a:prstClr val="black"/>
              </a:solidFill>
              <a:latin typeface="Meiryo UI"/>
              <a:ea typeface="Meiryo UI"/>
            </a:endParaRPr>
          </a:p>
        </p:txBody>
      </p:sp>
      <p:sp>
        <p:nvSpPr>
          <p:cNvPr id="34" name="Oval 375"/>
          <p:cNvSpPr/>
          <p:nvPr/>
        </p:nvSpPr>
        <p:spPr bwMode="auto">
          <a:xfrm>
            <a:off x="1284723" y="3209291"/>
            <a:ext cx="1423626" cy="1347284"/>
          </a:xfrm>
          <a:prstGeom prst="ellipse">
            <a:avLst/>
          </a:prstGeom>
          <a:solidFill>
            <a:schemeClr val="bg1">
              <a:alpha val="50000"/>
            </a:schemeClr>
          </a:solidFill>
          <a:ln w="5080" cap="flat" cmpd="sng" algn="ctr">
            <a:noFill/>
            <a:prstDash val="sysDash"/>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lIns="21946" tIns="10973" rIns="21946" bIns="10973" rtlCol="0" anchor="ctr"/>
          <a:lstStyle/>
          <a:p>
            <a:pPr algn="ctr">
              <a:defRPr/>
            </a:pPr>
            <a:endParaRPr lang="en-US" sz="2400" dirty="0">
              <a:solidFill>
                <a:prstClr val="black"/>
              </a:solidFill>
              <a:latin typeface="Trebuchet MS"/>
              <a:ea typeface="Meiryo UI"/>
            </a:endParaRPr>
          </a:p>
        </p:txBody>
      </p:sp>
      <p:grpSp>
        <p:nvGrpSpPr>
          <p:cNvPr id="35" name="Group 376"/>
          <p:cNvGrpSpPr/>
          <p:nvPr/>
        </p:nvGrpSpPr>
        <p:grpSpPr>
          <a:xfrm>
            <a:off x="1167119" y="3132257"/>
            <a:ext cx="3337491" cy="2143411"/>
            <a:chOff x="3471428" y="2298266"/>
            <a:chExt cx="4283442" cy="2910021"/>
          </a:xfrm>
        </p:grpSpPr>
        <p:cxnSp>
          <p:nvCxnSpPr>
            <p:cNvPr id="78" name="Straight Connector 449"/>
            <p:cNvCxnSpPr/>
            <p:nvPr/>
          </p:nvCxnSpPr>
          <p:spPr>
            <a:xfrm>
              <a:off x="3536674" y="2322339"/>
              <a:ext cx="4200618" cy="2800119"/>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 name="Straight Connector 450"/>
            <p:cNvCxnSpPr/>
            <p:nvPr/>
          </p:nvCxnSpPr>
          <p:spPr>
            <a:xfrm flipV="1">
              <a:off x="7672047" y="5107059"/>
              <a:ext cx="82823" cy="101228"/>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80" name="Group 451"/>
            <p:cNvGrpSpPr/>
            <p:nvPr/>
          </p:nvGrpSpPr>
          <p:grpSpPr>
            <a:xfrm>
              <a:off x="3471428" y="2298266"/>
              <a:ext cx="4159907" cy="2827424"/>
              <a:chOff x="3471428" y="2298266"/>
              <a:chExt cx="4159907" cy="2827424"/>
            </a:xfrm>
          </p:grpSpPr>
          <p:cxnSp>
            <p:nvCxnSpPr>
              <p:cNvPr id="81" name="Straight Connector 452"/>
              <p:cNvCxnSpPr/>
              <p:nvPr/>
            </p:nvCxnSpPr>
            <p:spPr>
              <a:xfrm flipV="1">
                <a:off x="3471428" y="2298266"/>
                <a:ext cx="82823" cy="101228"/>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2" name="Straight Connector 453"/>
              <p:cNvCxnSpPr/>
              <p:nvPr/>
            </p:nvCxnSpPr>
            <p:spPr>
              <a:xfrm flipV="1">
                <a:off x="3594976" y="2380878"/>
                <a:ext cx="82823" cy="101228"/>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3" name="Straight Connector 454"/>
              <p:cNvCxnSpPr/>
              <p:nvPr/>
            </p:nvCxnSpPr>
            <p:spPr>
              <a:xfrm flipV="1">
                <a:off x="3718524" y="2463490"/>
                <a:ext cx="82823" cy="101228"/>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4" name="Straight Connector 455"/>
              <p:cNvCxnSpPr/>
              <p:nvPr/>
            </p:nvCxnSpPr>
            <p:spPr>
              <a:xfrm flipV="1">
                <a:off x="3842072" y="2546102"/>
                <a:ext cx="82823" cy="101228"/>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Straight Connector 457"/>
              <p:cNvCxnSpPr/>
              <p:nvPr/>
            </p:nvCxnSpPr>
            <p:spPr>
              <a:xfrm flipV="1">
                <a:off x="3965620" y="2628714"/>
                <a:ext cx="82823" cy="101228"/>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6" name="Straight Connector 458"/>
              <p:cNvCxnSpPr/>
              <p:nvPr/>
            </p:nvCxnSpPr>
            <p:spPr>
              <a:xfrm flipV="1">
                <a:off x="7301416" y="4859238"/>
                <a:ext cx="82823" cy="101228"/>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7" name="Straight Connector 459"/>
              <p:cNvCxnSpPr/>
              <p:nvPr/>
            </p:nvCxnSpPr>
            <p:spPr>
              <a:xfrm flipV="1">
                <a:off x="5942388" y="3950506"/>
                <a:ext cx="82823" cy="101228"/>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 name="Straight Connector 460"/>
              <p:cNvCxnSpPr/>
              <p:nvPr/>
            </p:nvCxnSpPr>
            <p:spPr>
              <a:xfrm flipV="1">
                <a:off x="6065936" y="4033118"/>
                <a:ext cx="82823" cy="101228"/>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9" name="Straight Connector 461"/>
              <p:cNvCxnSpPr/>
              <p:nvPr/>
            </p:nvCxnSpPr>
            <p:spPr>
              <a:xfrm flipV="1">
                <a:off x="6189484" y="4115730"/>
                <a:ext cx="82823" cy="101228"/>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0" name="Straight Connector 462"/>
              <p:cNvCxnSpPr/>
              <p:nvPr/>
            </p:nvCxnSpPr>
            <p:spPr>
              <a:xfrm flipV="1">
                <a:off x="6313032" y="4198342"/>
                <a:ext cx="82823" cy="101228"/>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Straight Connector 463"/>
              <p:cNvCxnSpPr/>
              <p:nvPr/>
            </p:nvCxnSpPr>
            <p:spPr>
              <a:xfrm flipV="1">
                <a:off x="6436580" y="4280954"/>
                <a:ext cx="82823" cy="101228"/>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2" name="Straight Connector 464"/>
              <p:cNvCxnSpPr/>
              <p:nvPr/>
            </p:nvCxnSpPr>
            <p:spPr>
              <a:xfrm flipV="1">
                <a:off x="6683676" y="4446178"/>
                <a:ext cx="82823" cy="101228"/>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3" name="Straight Connector 465"/>
              <p:cNvCxnSpPr/>
              <p:nvPr/>
            </p:nvCxnSpPr>
            <p:spPr>
              <a:xfrm flipV="1">
                <a:off x="6807224" y="4528790"/>
                <a:ext cx="82823" cy="101228"/>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Straight Connector 466"/>
              <p:cNvCxnSpPr/>
              <p:nvPr/>
            </p:nvCxnSpPr>
            <p:spPr>
              <a:xfrm flipV="1">
                <a:off x="7054320" y="4694014"/>
                <a:ext cx="82823" cy="101228"/>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Straight Connector 467"/>
              <p:cNvCxnSpPr/>
              <p:nvPr/>
            </p:nvCxnSpPr>
            <p:spPr>
              <a:xfrm flipV="1">
                <a:off x="7177868" y="4776626"/>
                <a:ext cx="82823" cy="101228"/>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6" name="Straight Connector 468"/>
              <p:cNvCxnSpPr/>
              <p:nvPr/>
            </p:nvCxnSpPr>
            <p:spPr>
              <a:xfrm flipV="1">
                <a:off x="7424964" y="4941850"/>
                <a:ext cx="82823" cy="101228"/>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Straight Connector 469"/>
              <p:cNvCxnSpPr/>
              <p:nvPr/>
            </p:nvCxnSpPr>
            <p:spPr>
              <a:xfrm flipV="1">
                <a:off x="7548512" y="5024462"/>
                <a:ext cx="82823" cy="101228"/>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Straight Connector 470"/>
              <p:cNvCxnSpPr/>
              <p:nvPr/>
            </p:nvCxnSpPr>
            <p:spPr>
              <a:xfrm flipV="1">
                <a:off x="6930772" y="4611402"/>
                <a:ext cx="82823" cy="101228"/>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Straight Connector 471"/>
              <p:cNvCxnSpPr/>
              <p:nvPr/>
            </p:nvCxnSpPr>
            <p:spPr>
              <a:xfrm flipV="1">
                <a:off x="6560128" y="4363566"/>
                <a:ext cx="82823" cy="101228"/>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0" name="Straight Connector 472"/>
              <p:cNvCxnSpPr/>
              <p:nvPr/>
            </p:nvCxnSpPr>
            <p:spPr>
              <a:xfrm flipV="1">
                <a:off x="5818840" y="3867894"/>
                <a:ext cx="82823" cy="101228"/>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1" name="Straight Connector 473"/>
              <p:cNvCxnSpPr/>
              <p:nvPr/>
            </p:nvCxnSpPr>
            <p:spPr>
              <a:xfrm flipV="1">
                <a:off x="5448196" y="3620058"/>
                <a:ext cx="82823" cy="101228"/>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2" name="Straight Connector 474"/>
              <p:cNvCxnSpPr/>
              <p:nvPr/>
            </p:nvCxnSpPr>
            <p:spPr>
              <a:xfrm flipV="1">
                <a:off x="4089168" y="2711326"/>
                <a:ext cx="82823" cy="101228"/>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3" name="Straight Connector 475"/>
              <p:cNvCxnSpPr/>
              <p:nvPr/>
            </p:nvCxnSpPr>
            <p:spPr>
              <a:xfrm flipV="1">
                <a:off x="4212716" y="2793938"/>
                <a:ext cx="82823" cy="101228"/>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4" name="Straight Connector 476"/>
              <p:cNvCxnSpPr/>
              <p:nvPr/>
            </p:nvCxnSpPr>
            <p:spPr>
              <a:xfrm flipV="1">
                <a:off x="4336264" y="2876550"/>
                <a:ext cx="82823" cy="101228"/>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5" name="Straight Connector 477"/>
              <p:cNvCxnSpPr/>
              <p:nvPr/>
            </p:nvCxnSpPr>
            <p:spPr>
              <a:xfrm flipV="1">
                <a:off x="4459812" y="2959162"/>
                <a:ext cx="82823" cy="101228"/>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6" name="Straight Connector 478"/>
              <p:cNvCxnSpPr/>
              <p:nvPr/>
            </p:nvCxnSpPr>
            <p:spPr>
              <a:xfrm flipV="1">
                <a:off x="4583360" y="3041774"/>
                <a:ext cx="82823" cy="101228"/>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7" name="Straight Connector 479"/>
              <p:cNvCxnSpPr/>
              <p:nvPr/>
            </p:nvCxnSpPr>
            <p:spPr>
              <a:xfrm flipV="1">
                <a:off x="4830456" y="3206998"/>
                <a:ext cx="82823" cy="101228"/>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8" name="Straight Connector 480"/>
              <p:cNvCxnSpPr/>
              <p:nvPr/>
            </p:nvCxnSpPr>
            <p:spPr>
              <a:xfrm flipV="1">
                <a:off x="4954004" y="3289610"/>
                <a:ext cx="82823" cy="101228"/>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Straight Connector 481"/>
              <p:cNvCxnSpPr/>
              <p:nvPr/>
            </p:nvCxnSpPr>
            <p:spPr>
              <a:xfrm flipV="1">
                <a:off x="5201100" y="3454834"/>
                <a:ext cx="82823" cy="101228"/>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0" name="Straight Connector 482"/>
              <p:cNvCxnSpPr/>
              <p:nvPr/>
            </p:nvCxnSpPr>
            <p:spPr>
              <a:xfrm flipV="1">
                <a:off x="5324648" y="3537446"/>
                <a:ext cx="82823" cy="101228"/>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Connector 483"/>
              <p:cNvCxnSpPr/>
              <p:nvPr/>
            </p:nvCxnSpPr>
            <p:spPr>
              <a:xfrm flipV="1">
                <a:off x="5571744" y="3702670"/>
                <a:ext cx="82823" cy="101228"/>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2" name="Straight Connector 484"/>
              <p:cNvCxnSpPr/>
              <p:nvPr/>
            </p:nvCxnSpPr>
            <p:spPr>
              <a:xfrm flipV="1">
                <a:off x="5695292" y="3785282"/>
                <a:ext cx="82823" cy="101228"/>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Straight Connector 485"/>
              <p:cNvCxnSpPr/>
              <p:nvPr/>
            </p:nvCxnSpPr>
            <p:spPr>
              <a:xfrm flipV="1">
                <a:off x="5077552" y="3372222"/>
                <a:ext cx="82823" cy="101228"/>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4" name="Straight Connector 486"/>
              <p:cNvCxnSpPr/>
              <p:nvPr/>
            </p:nvCxnSpPr>
            <p:spPr>
              <a:xfrm flipV="1">
                <a:off x="4706908" y="3124386"/>
                <a:ext cx="82823" cy="101228"/>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299" name="Straight Connector 449"/>
            <p:cNvCxnSpPr/>
            <p:nvPr/>
          </p:nvCxnSpPr>
          <p:spPr>
            <a:xfrm>
              <a:off x="3484085" y="2371356"/>
              <a:ext cx="4200618" cy="2800119"/>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pic>
        <p:nvPicPr>
          <p:cNvPr id="36" name="Picture 377"/>
          <p:cNvPicPr>
            <a:picLocks noChangeAspect="1"/>
          </p:cNvPicPr>
          <p:nvPr/>
        </p:nvPicPr>
        <p:blipFill>
          <a:blip r:embed="rId4"/>
          <a:stretch>
            <a:fillRect/>
          </a:stretch>
        </p:blipFill>
        <p:spPr>
          <a:xfrm rot="120000">
            <a:off x="2697636" y="4031629"/>
            <a:ext cx="1018579" cy="730405"/>
          </a:xfrm>
          <a:prstGeom prst="rect">
            <a:avLst/>
          </a:prstGeom>
        </p:spPr>
      </p:pic>
      <p:pic>
        <p:nvPicPr>
          <p:cNvPr id="61" name="Picture 418"/>
          <p:cNvPicPr>
            <a:picLocks noChangeAspect="1"/>
          </p:cNvPicPr>
          <p:nvPr/>
        </p:nvPicPr>
        <p:blipFill>
          <a:blip r:embed="rId5"/>
          <a:stretch>
            <a:fillRect/>
          </a:stretch>
        </p:blipFill>
        <p:spPr>
          <a:xfrm>
            <a:off x="3378417" y="3637448"/>
            <a:ext cx="258229" cy="230501"/>
          </a:xfrm>
          <a:prstGeom prst="rect">
            <a:avLst/>
          </a:prstGeom>
        </p:spPr>
      </p:pic>
      <p:grpSp>
        <p:nvGrpSpPr>
          <p:cNvPr id="52" name="Group 394"/>
          <p:cNvGrpSpPr/>
          <p:nvPr/>
        </p:nvGrpSpPr>
        <p:grpSpPr>
          <a:xfrm>
            <a:off x="1355826" y="2984377"/>
            <a:ext cx="3076703" cy="2611642"/>
            <a:chOff x="793023" y="2481010"/>
            <a:chExt cx="1644638" cy="1475146"/>
          </a:xfrm>
        </p:grpSpPr>
        <p:pic>
          <p:nvPicPr>
            <p:cNvPr id="53" name="Picture 39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279017" y="3170813"/>
              <a:ext cx="158644" cy="159486"/>
            </a:xfrm>
            <a:prstGeom prst="rect">
              <a:avLst/>
            </a:prstGeom>
          </p:spPr>
        </p:pic>
        <p:grpSp>
          <p:nvGrpSpPr>
            <p:cNvPr id="54" name="Group 396"/>
            <p:cNvGrpSpPr/>
            <p:nvPr/>
          </p:nvGrpSpPr>
          <p:grpSpPr>
            <a:xfrm>
              <a:off x="1674359" y="2481010"/>
              <a:ext cx="191900" cy="205741"/>
              <a:chOff x="1654821" y="2492733"/>
              <a:chExt cx="191900" cy="205741"/>
            </a:xfrm>
          </p:grpSpPr>
          <p:pic>
            <p:nvPicPr>
              <p:cNvPr id="59" name="Picture 401"/>
              <p:cNvPicPr>
                <a:picLocks noChangeAspect="1"/>
              </p:cNvPicPr>
              <p:nvPr/>
            </p:nvPicPr>
            <p:blipFill>
              <a:blip r:embed="rId7"/>
              <a:stretch>
                <a:fillRect/>
              </a:stretch>
            </p:blipFill>
            <p:spPr>
              <a:xfrm flipH="1">
                <a:off x="1654821" y="2549607"/>
                <a:ext cx="78598" cy="148867"/>
              </a:xfrm>
              <a:prstGeom prst="rect">
                <a:avLst/>
              </a:prstGeom>
            </p:spPr>
          </p:pic>
          <p:pic>
            <p:nvPicPr>
              <p:cNvPr id="60" name="Picture 40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676865" y="2492733"/>
                <a:ext cx="169856" cy="170756"/>
              </a:xfrm>
              <a:prstGeom prst="rect">
                <a:avLst/>
              </a:prstGeom>
            </p:spPr>
          </p:pic>
        </p:grpSp>
        <p:grpSp>
          <p:nvGrpSpPr>
            <p:cNvPr id="55" name="Group 397"/>
            <p:cNvGrpSpPr/>
            <p:nvPr/>
          </p:nvGrpSpPr>
          <p:grpSpPr>
            <a:xfrm>
              <a:off x="793023" y="3364554"/>
              <a:ext cx="175261" cy="216741"/>
              <a:chOff x="847731" y="3364554"/>
              <a:chExt cx="175261" cy="216741"/>
            </a:xfrm>
          </p:grpSpPr>
          <p:pic>
            <p:nvPicPr>
              <p:cNvPr id="57" name="Picture 39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47731" y="3364554"/>
                <a:ext cx="175261" cy="176191"/>
              </a:xfrm>
              <a:prstGeom prst="rect">
                <a:avLst/>
              </a:prstGeom>
            </p:spPr>
          </p:pic>
          <p:pic>
            <p:nvPicPr>
              <p:cNvPr id="58" name="Picture 400"/>
              <p:cNvPicPr>
                <a:picLocks noChangeAspect="1"/>
              </p:cNvPicPr>
              <p:nvPr/>
            </p:nvPicPr>
            <p:blipFill>
              <a:blip r:embed="rId8"/>
              <a:stretch>
                <a:fillRect/>
              </a:stretch>
            </p:blipFill>
            <p:spPr>
              <a:xfrm>
                <a:off x="943907" y="3448827"/>
                <a:ext cx="64292" cy="132468"/>
              </a:xfrm>
              <a:prstGeom prst="rect">
                <a:avLst/>
              </a:prstGeom>
            </p:spPr>
          </p:pic>
        </p:grpSp>
        <p:pic>
          <p:nvPicPr>
            <p:cNvPr id="56" name="Picture 39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534578" y="3773768"/>
              <a:ext cx="181425" cy="182388"/>
            </a:xfrm>
            <a:prstGeom prst="rect">
              <a:avLst/>
            </a:prstGeom>
          </p:spPr>
        </p:pic>
      </p:grpSp>
      <p:pic>
        <p:nvPicPr>
          <p:cNvPr id="50" name="Picture 39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080066" y="5087258"/>
            <a:ext cx="208564" cy="302393"/>
          </a:xfrm>
          <a:prstGeom prst="rect">
            <a:avLst/>
          </a:prstGeom>
        </p:spPr>
      </p:pic>
      <p:pic>
        <p:nvPicPr>
          <p:cNvPr id="48" name="Picture 390"/>
          <p:cNvPicPr>
            <a:picLocks noChangeAspect="1"/>
          </p:cNvPicPr>
          <p:nvPr/>
        </p:nvPicPr>
        <p:blipFill>
          <a:blip r:embed="rId10"/>
          <a:stretch>
            <a:fillRect/>
          </a:stretch>
        </p:blipFill>
        <p:spPr>
          <a:xfrm>
            <a:off x="1695249" y="3398509"/>
            <a:ext cx="409426" cy="319550"/>
          </a:xfrm>
          <a:prstGeom prst="rect">
            <a:avLst/>
          </a:prstGeom>
        </p:spPr>
      </p:pic>
      <p:sp>
        <p:nvSpPr>
          <p:cNvPr id="40" name="Oval 361"/>
          <p:cNvSpPr/>
          <p:nvPr/>
        </p:nvSpPr>
        <p:spPr bwMode="auto">
          <a:xfrm rot="1018853">
            <a:off x="1123739" y="3020634"/>
            <a:ext cx="3393851" cy="2639248"/>
          </a:xfrm>
          <a:custGeom>
            <a:avLst/>
            <a:gdLst>
              <a:gd name="connsiteX0" fmla="*/ 0 w 1814167"/>
              <a:gd name="connsiteY0" fmla="*/ 735840 h 1471680"/>
              <a:gd name="connsiteX1" fmla="*/ 907084 w 1814167"/>
              <a:gd name="connsiteY1" fmla="*/ 0 h 1471680"/>
              <a:gd name="connsiteX2" fmla="*/ 1814168 w 1814167"/>
              <a:gd name="connsiteY2" fmla="*/ 735840 h 1471680"/>
              <a:gd name="connsiteX3" fmla="*/ 907084 w 1814167"/>
              <a:gd name="connsiteY3" fmla="*/ 1471680 h 1471680"/>
              <a:gd name="connsiteX4" fmla="*/ 0 w 1814167"/>
              <a:gd name="connsiteY4" fmla="*/ 735840 h 1471680"/>
              <a:gd name="connsiteX0" fmla="*/ 95307 w 1909475"/>
              <a:gd name="connsiteY0" fmla="*/ 737622 h 1473462"/>
              <a:gd name="connsiteX1" fmla="*/ 129660 w 1909475"/>
              <a:gd name="connsiteY1" fmla="*/ 537081 h 1473462"/>
              <a:gd name="connsiteX2" fmla="*/ 1002391 w 1909475"/>
              <a:gd name="connsiteY2" fmla="*/ 1782 h 1473462"/>
              <a:gd name="connsiteX3" fmla="*/ 1909475 w 1909475"/>
              <a:gd name="connsiteY3" fmla="*/ 737622 h 1473462"/>
              <a:gd name="connsiteX4" fmla="*/ 1002391 w 1909475"/>
              <a:gd name="connsiteY4" fmla="*/ 1473462 h 1473462"/>
              <a:gd name="connsiteX5" fmla="*/ 95307 w 1909475"/>
              <a:gd name="connsiteY5" fmla="*/ 737622 h 1473462"/>
              <a:gd name="connsiteX0" fmla="*/ 122786 w 1902601"/>
              <a:gd name="connsiteY0" fmla="*/ 537081 h 1473462"/>
              <a:gd name="connsiteX1" fmla="*/ 995517 w 1902601"/>
              <a:gd name="connsiteY1" fmla="*/ 1782 h 1473462"/>
              <a:gd name="connsiteX2" fmla="*/ 1902601 w 1902601"/>
              <a:gd name="connsiteY2" fmla="*/ 737622 h 1473462"/>
              <a:gd name="connsiteX3" fmla="*/ 995517 w 1902601"/>
              <a:gd name="connsiteY3" fmla="*/ 1473462 h 1473462"/>
              <a:gd name="connsiteX4" fmla="*/ 88433 w 1902601"/>
              <a:gd name="connsiteY4" fmla="*/ 737622 h 1473462"/>
              <a:gd name="connsiteX5" fmla="*/ 214226 w 1902601"/>
              <a:gd name="connsiteY5" fmla="*/ 628521 h 1473462"/>
              <a:gd name="connsiteX0" fmla="*/ 995517 w 1902601"/>
              <a:gd name="connsiteY0" fmla="*/ 0 h 1471680"/>
              <a:gd name="connsiteX1" fmla="*/ 1902601 w 1902601"/>
              <a:gd name="connsiteY1" fmla="*/ 735840 h 1471680"/>
              <a:gd name="connsiteX2" fmla="*/ 995517 w 1902601"/>
              <a:gd name="connsiteY2" fmla="*/ 1471680 h 1471680"/>
              <a:gd name="connsiteX3" fmla="*/ 88433 w 1902601"/>
              <a:gd name="connsiteY3" fmla="*/ 735840 h 1471680"/>
              <a:gd name="connsiteX4" fmla="*/ 214226 w 1902601"/>
              <a:gd name="connsiteY4" fmla="*/ 626739 h 1471680"/>
              <a:gd name="connsiteX0" fmla="*/ 995517 w 1902601"/>
              <a:gd name="connsiteY0" fmla="*/ 0 h 1471680"/>
              <a:gd name="connsiteX1" fmla="*/ 1902601 w 1902601"/>
              <a:gd name="connsiteY1" fmla="*/ 735840 h 1471680"/>
              <a:gd name="connsiteX2" fmla="*/ 995517 w 1902601"/>
              <a:gd name="connsiteY2" fmla="*/ 1471680 h 1471680"/>
              <a:gd name="connsiteX3" fmla="*/ 88433 w 1902601"/>
              <a:gd name="connsiteY3" fmla="*/ 735840 h 1471680"/>
              <a:gd name="connsiteX4" fmla="*/ 214226 w 1902601"/>
              <a:gd name="connsiteY4" fmla="*/ 626739 h 1471680"/>
              <a:gd name="connsiteX0" fmla="*/ 914346 w 1821430"/>
              <a:gd name="connsiteY0" fmla="*/ 0 h 1471680"/>
              <a:gd name="connsiteX1" fmla="*/ 1821430 w 1821430"/>
              <a:gd name="connsiteY1" fmla="*/ 735840 h 1471680"/>
              <a:gd name="connsiteX2" fmla="*/ 914346 w 1821430"/>
              <a:gd name="connsiteY2" fmla="*/ 1471680 h 1471680"/>
              <a:gd name="connsiteX3" fmla="*/ 7262 w 1821430"/>
              <a:gd name="connsiteY3" fmla="*/ 735840 h 1471680"/>
              <a:gd name="connsiteX4" fmla="*/ 540309 w 1821430"/>
              <a:gd name="connsiteY4" fmla="*/ 172064 h 1471680"/>
              <a:gd name="connsiteX0" fmla="*/ 983758 w 1890842"/>
              <a:gd name="connsiteY0" fmla="*/ 0 h 1471680"/>
              <a:gd name="connsiteX1" fmla="*/ 1890842 w 1890842"/>
              <a:gd name="connsiteY1" fmla="*/ 735840 h 1471680"/>
              <a:gd name="connsiteX2" fmla="*/ 983758 w 1890842"/>
              <a:gd name="connsiteY2" fmla="*/ 1471680 h 1471680"/>
              <a:gd name="connsiteX3" fmla="*/ 76674 w 1890842"/>
              <a:gd name="connsiteY3" fmla="*/ 735840 h 1471680"/>
              <a:gd name="connsiteX4" fmla="*/ 110564 w 1890842"/>
              <a:gd name="connsiteY4" fmla="*/ 533780 h 1471680"/>
              <a:gd name="connsiteX5" fmla="*/ 609721 w 1890842"/>
              <a:gd name="connsiteY5" fmla="*/ 172064 h 1471680"/>
              <a:gd name="connsiteX0" fmla="*/ 923927 w 1831011"/>
              <a:gd name="connsiteY0" fmla="*/ 0 h 1471680"/>
              <a:gd name="connsiteX1" fmla="*/ 1831011 w 1831011"/>
              <a:gd name="connsiteY1" fmla="*/ 735840 h 1471680"/>
              <a:gd name="connsiteX2" fmla="*/ 923927 w 1831011"/>
              <a:gd name="connsiteY2" fmla="*/ 1471680 h 1471680"/>
              <a:gd name="connsiteX3" fmla="*/ 16843 w 1831011"/>
              <a:gd name="connsiteY3" fmla="*/ 735840 h 1471680"/>
              <a:gd name="connsiteX4" fmla="*/ 50733 w 1831011"/>
              <a:gd name="connsiteY4" fmla="*/ 533780 h 1471680"/>
              <a:gd name="connsiteX5" fmla="*/ 549890 w 1831011"/>
              <a:gd name="connsiteY5" fmla="*/ 172064 h 1471680"/>
              <a:gd name="connsiteX0" fmla="*/ 907086 w 1814170"/>
              <a:gd name="connsiteY0" fmla="*/ 0 h 1471680"/>
              <a:gd name="connsiteX1" fmla="*/ 1814170 w 1814170"/>
              <a:gd name="connsiteY1" fmla="*/ 735840 h 1471680"/>
              <a:gd name="connsiteX2" fmla="*/ 907086 w 1814170"/>
              <a:gd name="connsiteY2" fmla="*/ 1471680 h 1471680"/>
              <a:gd name="connsiteX3" fmla="*/ 2 w 1814170"/>
              <a:gd name="connsiteY3" fmla="*/ 735840 h 1471680"/>
              <a:gd name="connsiteX4" fmla="*/ 33892 w 1814170"/>
              <a:gd name="connsiteY4" fmla="*/ 533780 h 1471680"/>
              <a:gd name="connsiteX5" fmla="*/ 533049 w 1814170"/>
              <a:gd name="connsiteY5" fmla="*/ 172064 h 1471680"/>
              <a:gd name="connsiteX0" fmla="*/ 907084 w 1814168"/>
              <a:gd name="connsiteY0" fmla="*/ 0 h 1471680"/>
              <a:gd name="connsiteX1" fmla="*/ 1814168 w 1814168"/>
              <a:gd name="connsiteY1" fmla="*/ 735840 h 1471680"/>
              <a:gd name="connsiteX2" fmla="*/ 907084 w 1814168"/>
              <a:gd name="connsiteY2" fmla="*/ 1471680 h 1471680"/>
              <a:gd name="connsiteX3" fmla="*/ 0 w 1814168"/>
              <a:gd name="connsiteY3" fmla="*/ 735840 h 1471680"/>
              <a:gd name="connsiteX4" fmla="*/ 33890 w 1814168"/>
              <a:gd name="connsiteY4" fmla="*/ 533780 h 1471680"/>
              <a:gd name="connsiteX5" fmla="*/ 533047 w 1814168"/>
              <a:gd name="connsiteY5" fmla="*/ 172064 h 1471680"/>
              <a:gd name="connsiteX0" fmla="*/ 907084 w 1814168"/>
              <a:gd name="connsiteY0" fmla="*/ 0 h 1471680"/>
              <a:gd name="connsiteX1" fmla="*/ 1814168 w 1814168"/>
              <a:gd name="connsiteY1" fmla="*/ 735840 h 1471680"/>
              <a:gd name="connsiteX2" fmla="*/ 907084 w 1814168"/>
              <a:gd name="connsiteY2" fmla="*/ 1471680 h 1471680"/>
              <a:gd name="connsiteX3" fmla="*/ 0 w 1814168"/>
              <a:gd name="connsiteY3" fmla="*/ 735840 h 1471680"/>
              <a:gd name="connsiteX4" fmla="*/ 33890 w 1814168"/>
              <a:gd name="connsiteY4" fmla="*/ 533780 h 1471680"/>
              <a:gd name="connsiteX5" fmla="*/ 434948 w 1814168"/>
              <a:gd name="connsiteY5" fmla="*/ 693340 h 1471680"/>
              <a:gd name="connsiteX0" fmla="*/ 909056 w 1816140"/>
              <a:gd name="connsiteY0" fmla="*/ 0 h 1471680"/>
              <a:gd name="connsiteX1" fmla="*/ 1816140 w 1816140"/>
              <a:gd name="connsiteY1" fmla="*/ 735840 h 1471680"/>
              <a:gd name="connsiteX2" fmla="*/ 909056 w 1816140"/>
              <a:gd name="connsiteY2" fmla="*/ 1471680 h 1471680"/>
              <a:gd name="connsiteX3" fmla="*/ 1972 w 1816140"/>
              <a:gd name="connsiteY3" fmla="*/ 735840 h 1471680"/>
              <a:gd name="connsiteX4" fmla="*/ 35862 w 1816140"/>
              <a:gd name="connsiteY4" fmla="*/ 533780 h 1471680"/>
              <a:gd name="connsiteX5" fmla="*/ 436920 w 1816140"/>
              <a:gd name="connsiteY5" fmla="*/ 693340 h 1471680"/>
              <a:gd name="connsiteX0" fmla="*/ 907084 w 1814168"/>
              <a:gd name="connsiteY0" fmla="*/ 0 h 1471680"/>
              <a:gd name="connsiteX1" fmla="*/ 1814168 w 1814168"/>
              <a:gd name="connsiteY1" fmla="*/ 735840 h 1471680"/>
              <a:gd name="connsiteX2" fmla="*/ 907084 w 1814168"/>
              <a:gd name="connsiteY2" fmla="*/ 1471680 h 1471680"/>
              <a:gd name="connsiteX3" fmla="*/ 0 w 1814168"/>
              <a:gd name="connsiteY3" fmla="*/ 735840 h 1471680"/>
              <a:gd name="connsiteX4" fmla="*/ 33890 w 1814168"/>
              <a:gd name="connsiteY4" fmla="*/ 533780 h 1471680"/>
              <a:gd name="connsiteX5" fmla="*/ 434948 w 1814168"/>
              <a:gd name="connsiteY5" fmla="*/ 693340 h 1471680"/>
              <a:gd name="connsiteX0" fmla="*/ 907084 w 1814168"/>
              <a:gd name="connsiteY0" fmla="*/ 0 h 1471680"/>
              <a:gd name="connsiteX1" fmla="*/ 1814168 w 1814168"/>
              <a:gd name="connsiteY1" fmla="*/ 735840 h 1471680"/>
              <a:gd name="connsiteX2" fmla="*/ 907084 w 1814168"/>
              <a:gd name="connsiteY2" fmla="*/ 1471680 h 1471680"/>
              <a:gd name="connsiteX3" fmla="*/ 0 w 1814168"/>
              <a:gd name="connsiteY3" fmla="*/ 735840 h 1471680"/>
              <a:gd name="connsiteX4" fmla="*/ 33890 w 1814168"/>
              <a:gd name="connsiteY4" fmla="*/ 533780 h 1471680"/>
              <a:gd name="connsiteX5" fmla="*/ 434948 w 1814168"/>
              <a:gd name="connsiteY5" fmla="*/ 693340 h 1471680"/>
              <a:gd name="connsiteX0" fmla="*/ 907084 w 1814168"/>
              <a:gd name="connsiteY0" fmla="*/ 0 h 1471680"/>
              <a:gd name="connsiteX1" fmla="*/ 1814168 w 1814168"/>
              <a:gd name="connsiteY1" fmla="*/ 735840 h 1471680"/>
              <a:gd name="connsiteX2" fmla="*/ 907084 w 1814168"/>
              <a:gd name="connsiteY2" fmla="*/ 1471680 h 1471680"/>
              <a:gd name="connsiteX3" fmla="*/ 0 w 1814168"/>
              <a:gd name="connsiteY3" fmla="*/ 735840 h 1471680"/>
              <a:gd name="connsiteX4" fmla="*/ 33890 w 1814168"/>
              <a:gd name="connsiteY4" fmla="*/ 533780 h 1471680"/>
              <a:gd name="connsiteX5" fmla="*/ 434948 w 1814168"/>
              <a:gd name="connsiteY5" fmla="*/ 693340 h 1471680"/>
              <a:gd name="connsiteX0" fmla="*/ 907084 w 1814168"/>
              <a:gd name="connsiteY0" fmla="*/ 0 h 1471680"/>
              <a:gd name="connsiteX1" fmla="*/ 1814168 w 1814168"/>
              <a:gd name="connsiteY1" fmla="*/ 735840 h 1471680"/>
              <a:gd name="connsiteX2" fmla="*/ 907084 w 1814168"/>
              <a:gd name="connsiteY2" fmla="*/ 1471680 h 1471680"/>
              <a:gd name="connsiteX3" fmla="*/ 0 w 1814168"/>
              <a:gd name="connsiteY3" fmla="*/ 735840 h 1471680"/>
              <a:gd name="connsiteX4" fmla="*/ 33890 w 1814168"/>
              <a:gd name="connsiteY4" fmla="*/ 533780 h 1471680"/>
              <a:gd name="connsiteX5" fmla="*/ 434948 w 1814168"/>
              <a:gd name="connsiteY5" fmla="*/ 693340 h 1471680"/>
              <a:gd name="connsiteX0" fmla="*/ 907084 w 1814168"/>
              <a:gd name="connsiteY0" fmla="*/ 0 h 1471680"/>
              <a:gd name="connsiteX1" fmla="*/ 1814168 w 1814168"/>
              <a:gd name="connsiteY1" fmla="*/ 735840 h 1471680"/>
              <a:gd name="connsiteX2" fmla="*/ 907084 w 1814168"/>
              <a:gd name="connsiteY2" fmla="*/ 1471680 h 1471680"/>
              <a:gd name="connsiteX3" fmla="*/ 0 w 1814168"/>
              <a:gd name="connsiteY3" fmla="*/ 735840 h 1471680"/>
              <a:gd name="connsiteX4" fmla="*/ 33890 w 1814168"/>
              <a:gd name="connsiteY4" fmla="*/ 533780 h 1471680"/>
              <a:gd name="connsiteX5" fmla="*/ 441739 w 1814168"/>
              <a:gd name="connsiteY5" fmla="*/ 682966 h 1471680"/>
              <a:gd name="connsiteX0" fmla="*/ 907084 w 1814168"/>
              <a:gd name="connsiteY0" fmla="*/ 0 h 1471680"/>
              <a:gd name="connsiteX1" fmla="*/ 1814168 w 1814168"/>
              <a:gd name="connsiteY1" fmla="*/ 735840 h 1471680"/>
              <a:gd name="connsiteX2" fmla="*/ 907084 w 1814168"/>
              <a:gd name="connsiteY2" fmla="*/ 1471680 h 1471680"/>
              <a:gd name="connsiteX3" fmla="*/ 0 w 1814168"/>
              <a:gd name="connsiteY3" fmla="*/ 735840 h 1471680"/>
              <a:gd name="connsiteX4" fmla="*/ 33890 w 1814168"/>
              <a:gd name="connsiteY4" fmla="*/ 533780 h 1471680"/>
              <a:gd name="connsiteX5" fmla="*/ 441739 w 1814168"/>
              <a:gd name="connsiteY5" fmla="*/ 682966 h 1471680"/>
              <a:gd name="connsiteX0" fmla="*/ 907084 w 1814168"/>
              <a:gd name="connsiteY0" fmla="*/ 0 h 1471680"/>
              <a:gd name="connsiteX1" fmla="*/ 1814168 w 1814168"/>
              <a:gd name="connsiteY1" fmla="*/ 735840 h 1471680"/>
              <a:gd name="connsiteX2" fmla="*/ 907084 w 1814168"/>
              <a:gd name="connsiteY2" fmla="*/ 1471680 h 1471680"/>
              <a:gd name="connsiteX3" fmla="*/ 0 w 1814168"/>
              <a:gd name="connsiteY3" fmla="*/ 735840 h 1471680"/>
              <a:gd name="connsiteX4" fmla="*/ 33890 w 1814168"/>
              <a:gd name="connsiteY4" fmla="*/ 533780 h 1471680"/>
              <a:gd name="connsiteX5" fmla="*/ 449121 w 1814168"/>
              <a:gd name="connsiteY5" fmla="*/ 669093 h 1471680"/>
              <a:gd name="connsiteX0" fmla="*/ 907084 w 1814168"/>
              <a:gd name="connsiteY0" fmla="*/ 0 h 1471680"/>
              <a:gd name="connsiteX1" fmla="*/ 1814168 w 1814168"/>
              <a:gd name="connsiteY1" fmla="*/ 735840 h 1471680"/>
              <a:gd name="connsiteX2" fmla="*/ 907084 w 1814168"/>
              <a:gd name="connsiteY2" fmla="*/ 1471680 h 1471680"/>
              <a:gd name="connsiteX3" fmla="*/ 0 w 1814168"/>
              <a:gd name="connsiteY3" fmla="*/ 735840 h 1471680"/>
              <a:gd name="connsiteX4" fmla="*/ 33890 w 1814168"/>
              <a:gd name="connsiteY4" fmla="*/ 533780 h 1471680"/>
              <a:gd name="connsiteX5" fmla="*/ 449121 w 1814168"/>
              <a:gd name="connsiteY5" fmla="*/ 669093 h 1471680"/>
              <a:gd name="connsiteX0" fmla="*/ 982362 w 1814168"/>
              <a:gd name="connsiteY0" fmla="*/ 0 h 1469770"/>
              <a:gd name="connsiteX1" fmla="*/ 1814168 w 1814168"/>
              <a:gd name="connsiteY1" fmla="*/ 733930 h 1469770"/>
              <a:gd name="connsiteX2" fmla="*/ 907084 w 1814168"/>
              <a:gd name="connsiteY2" fmla="*/ 1469770 h 1469770"/>
              <a:gd name="connsiteX3" fmla="*/ 0 w 1814168"/>
              <a:gd name="connsiteY3" fmla="*/ 733930 h 1469770"/>
              <a:gd name="connsiteX4" fmla="*/ 33890 w 1814168"/>
              <a:gd name="connsiteY4" fmla="*/ 531870 h 1469770"/>
              <a:gd name="connsiteX5" fmla="*/ 449121 w 1814168"/>
              <a:gd name="connsiteY5" fmla="*/ 667183 h 1469770"/>
              <a:gd name="connsiteX0" fmla="*/ 982362 w 1814168"/>
              <a:gd name="connsiteY0" fmla="*/ 0 h 1469770"/>
              <a:gd name="connsiteX1" fmla="*/ 1814168 w 1814168"/>
              <a:gd name="connsiteY1" fmla="*/ 733930 h 1469770"/>
              <a:gd name="connsiteX2" fmla="*/ 907084 w 1814168"/>
              <a:gd name="connsiteY2" fmla="*/ 1469770 h 1469770"/>
              <a:gd name="connsiteX3" fmla="*/ 0 w 1814168"/>
              <a:gd name="connsiteY3" fmla="*/ 733930 h 1469770"/>
              <a:gd name="connsiteX4" fmla="*/ 33890 w 1814168"/>
              <a:gd name="connsiteY4" fmla="*/ 531870 h 1469770"/>
              <a:gd name="connsiteX5" fmla="*/ 449121 w 1814168"/>
              <a:gd name="connsiteY5" fmla="*/ 667183 h 1469770"/>
              <a:gd name="connsiteX0" fmla="*/ 982362 w 1814168"/>
              <a:gd name="connsiteY0" fmla="*/ 0 h 1490739"/>
              <a:gd name="connsiteX1" fmla="*/ 1814168 w 1814168"/>
              <a:gd name="connsiteY1" fmla="*/ 733930 h 1490739"/>
              <a:gd name="connsiteX2" fmla="*/ 905316 w 1814168"/>
              <a:gd name="connsiteY2" fmla="*/ 1490739 h 1490739"/>
              <a:gd name="connsiteX3" fmla="*/ 0 w 1814168"/>
              <a:gd name="connsiteY3" fmla="*/ 733930 h 1490739"/>
              <a:gd name="connsiteX4" fmla="*/ 33890 w 1814168"/>
              <a:gd name="connsiteY4" fmla="*/ 531870 h 1490739"/>
              <a:gd name="connsiteX5" fmla="*/ 449121 w 1814168"/>
              <a:gd name="connsiteY5" fmla="*/ 667183 h 1490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14168" h="1490739">
                <a:moveTo>
                  <a:pt x="982362" y="0"/>
                </a:moveTo>
                <a:cubicBezTo>
                  <a:pt x="1475891" y="91150"/>
                  <a:pt x="1814168" y="327537"/>
                  <a:pt x="1814168" y="733930"/>
                </a:cubicBezTo>
                <a:cubicBezTo>
                  <a:pt x="1814168" y="1140323"/>
                  <a:pt x="1406285" y="1490739"/>
                  <a:pt x="905316" y="1490739"/>
                </a:cubicBezTo>
                <a:cubicBezTo>
                  <a:pt x="404347" y="1490739"/>
                  <a:pt x="14964" y="1147559"/>
                  <a:pt x="0" y="733930"/>
                </a:cubicBezTo>
                <a:cubicBezTo>
                  <a:pt x="6320" y="629175"/>
                  <a:pt x="16280" y="609059"/>
                  <a:pt x="33890" y="531870"/>
                </a:cubicBezTo>
                <a:lnTo>
                  <a:pt x="449121" y="667183"/>
                </a:lnTo>
              </a:path>
            </a:pathLst>
          </a:custGeom>
          <a:noFill/>
          <a:ln w="38100" algn="ctr">
            <a:solidFill>
              <a:schemeClr val="accent5"/>
            </a:solidFill>
            <a:prstDash val="solid"/>
            <a:miter lim="800000"/>
            <a:headEnd type="none"/>
            <a:tailEnd type="triangle"/>
          </a:ln>
        </p:spPr>
        <p:txBody>
          <a:bodyPr lIns="21946" tIns="10973" rIns="21946" bIns="10973" rtlCol="0" anchor="ctr"/>
          <a:lstStyle/>
          <a:p>
            <a:pPr algn="ctr">
              <a:defRPr/>
            </a:pPr>
            <a:endParaRPr lang="en-US" sz="3200" dirty="0">
              <a:solidFill>
                <a:prstClr val="black"/>
              </a:solidFill>
              <a:latin typeface="Trebuchet MS"/>
              <a:ea typeface="Meiryo UI"/>
            </a:endParaRPr>
          </a:p>
        </p:txBody>
      </p:sp>
      <p:pic>
        <p:nvPicPr>
          <p:cNvPr id="41" name="Picture 38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flipH="1">
            <a:off x="3389707" y="3045674"/>
            <a:ext cx="733612" cy="555658"/>
          </a:xfrm>
          <a:prstGeom prst="rect">
            <a:avLst/>
          </a:prstGeom>
          <a:effectLst>
            <a:outerShdw blurRad="50800" dist="38100" dir="2700000" algn="tl" rotWithShape="0">
              <a:prstClr val="black">
                <a:alpha val="40000"/>
              </a:prstClr>
            </a:outerShdw>
          </a:effectLst>
        </p:spPr>
      </p:pic>
      <p:pic>
        <p:nvPicPr>
          <p:cNvPr id="42" name="Picture 38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147445" y="4347762"/>
            <a:ext cx="733612" cy="555658"/>
          </a:xfrm>
          <a:prstGeom prst="rect">
            <a:avLst/>
          </a:prstGeom>
          <a:effectLst>
            <a:outerShdw blurRad="50800" dist="38100" dir="2700000" algn="tl" rotWithShape="0">
              <a:prstClr val="black">
                <a:alpha val="40000"/>
              </a:prstClr>
            </a:outerShdw>
          </a:effectLst>
        </p:spPr>
      </p:pic>
      <p:grpSp>
        <p:nvGrpSpPr>
          <p:cNvPr id="43" name="Group 384"/>
          <p:cNvGrpSpPr/>
          <p:nvPr/>
        </p:nvGrpSpPr>
        <p:grpSpPr>
          <a:xfrm rot="21027297">
            <a:off x="2893390" y="5480434"/>
            <a:ext cx="985096" cy="294217"/>
            <a:chOff x="4238025" y="3420114"/>
            <a:chExt cx="403225" cy="127397"/>
          </a:xfrm>
          <a:effectLst>
            <a:outerShdw blurRad="50800" dist="38100" dir="2700000" algn="tl" rotWithShape="0">
              <a:prstClr val="black">
                <a:alpha val="40000"/>
              </a:prstClr>
            </a:outerShdw>
          </a:effectLst>
        </p:grpSpPr>
        <p:sp>
          <p:nvSpPr>
            <p:cNvPr id="45" name="Rounded Rectangle 386"/>
            <p:cNvSpPr/>
            <p:nvPr/>
          </p:nvSpPr>
          <p:spPr bwMode="auto">
            <a:xfrm>
              <a:off x="4252913" y="3427413"/>
              <a:ext cx="385762" cy="46037"/>
            </a:xfrm>
            <a:prstGeom prst="roundRect">
              <a:avLst/>
            </a:prstGeom>
            <a:solidFill>
              <a:schemeClr val="bg1"/>
            </a:solidFill>
            <a:ln w="1905" cap="flat" cmpd="sng" algn="ctr">
              <a:solidFill>
                <a:srgbClr val="9A9A9A"/>
              </a:solidFill>
              <a:prstDash val="solid"/>
              <a:miter lim="800000"/>
              <a:headEnd type="none" w="med" len="med"/>
              <a:tailEnd type="none" w="med" len="med"/>
            </a:ln>
          </p:spPr>
          <p:txBody>
            <a:bodyPr wrap="none" lIns="21600" tIns="6480" rIns="21600" bIns="6480" rtlCol="0" anchor="ctr"/>
            <a:lstStyle/>
            <a:p>
              <a:pPr marL="185738" indent="-185738" algn="ctr">
                <a:buClr>
                  <a:srgbClr val="969696"/>
                </a:buClr>
                <a:buSzPct val="80000"/>
                <a:defRPr/>
              </a:pPr>
              <a:endParaRPr kumimoji="0" lang="en-US" dirty="0">
                <a:solidFill>
                  <a:prstClr val="black"/>
                </a:solidFill>
                <a:latin typeface="Meiryo UI"/>
                <a:ea typeface="Meiryo UI"/>
              </a:endParaRPr>
            </a:p>
          </p:txBody>
        </p:sp>
        <p:pic>
          <p:nvPicPr>
            <p:cNvPr id="46" name="Picture 387"/>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238025" y="3420114"/>
              <a:ext cx="403225" cy="127397"/>
            </a:xfrm>
            <a:prstGeom prst="rect">
              <a:avLst/>
            </a:prstGeom>
          </p:spPr>
        </p:pic>
      </p:grpSp>
      <p:pic>
        <p:nvPicPr>
          <p:cNvPr id="44" name="Picture 385"/>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rot="200524" flipH="1">
            <a:off x="1268839" y="4829318"/>
            <a:ext cx="742784" cy="555658"/>
          </a:xfrm>
          <a:prstGeom prst="rect">
            <a:avLst/>
          </a:prstGeom>
          <a:effectLst>
            <a:outerShdw blurRad="50800" dist="38100" dir="2700000" algn="tl" rotWithShape="0">
              <a:prstClr val="black">
                <a:alpha val="40000"/>
              </a:prstClr>
            </a:outerShdw>
          </a:effectLst>
        </p:spPr>
      </p:pic>
      <p:pic>
        <p:nvPicPr>
          <p:cNvPr id="25" name="Picture 511"/>
          <p:cNvPicPr>
            <a:picLocks noChangeAspect="1"/>
          </p:cNvPicPr>
          <p:nvPr/>
        </p:nvPicPr>
        <p:blipFill rotWithShape="1">
          <a:blip r:embed="rId14"/>
          <a:srcRect l="6821" t="2753" r="42717" b="20671"/>
          <a:stretch/>
        </p:blipFill>
        <p:spPr>
          <a:xfrm>
            <a:off x="1953335" y="2745874"/>
            <a:ext cx="820446" cy="775591"/>
          </a:xfrm>
          <a:prstGeom prst="ellipse">
            <a:avLst/>
          </a:prstGeom>
          <a:grpFill/>
          <a:ln w="38100">
            <a:solidFill>
              <a:schemeClr val="accent2"/>
            </a:solidFill>
          </a:ln>
        </p:spPr>
      </p:pic>
      <p:sp>
        <p:nvSpPr>
          <p:cNvPr id="26" name="Rectangle 512"/>
          <p:cNvSpPr/>
          <p:nvPr/>
        </p:nvSpPr>
        <p:spPr bwMode="auto">
          <a:xfrm>
            <a:off x="1633076" y="2539600"/>
            <a:ext cx="631492" cy="203466"/>
          </a:xfrm>
          <a:prstGeom prst="rect">
            <a:avLst/>
          </a:prstGeom>
          <a:noFill/>
          <a:ln w="9525" algn="ctr">
            <a:noFill/>
            <a:miter lim="800000"/>
            <a:headEnd/>
            <a:tailEnd/>
          </a:ln>
          <a:effectLst>
            <a:softEdge rad="12700"/>
          </a:effectLst>
          <a:extLst/>
        </p:spPr>
        <p:txBody>
          <a:bodyPr wrap="none" lIns="36000" tIns="10800" rIns="36000" bIns="10800" rtlCol="0" anchor="ctr"/>
          <a:lstStyle/>
          <a:p>
            <a:pPr marL="185738" indent="-185738" algn="ctr">
              <a:buClr>
                <a:srgbClr val="969696"/>
              </a:buClr>
              <a:buSzPct val="80000"/>
              <a:defRPr/>
            </a:pPr>
            <a:r>
              <a:rPr kumimoji="0" lang="ja-JP" altLang="en-US" sz="1000" dirty="0">
                <a:latin typeface="Meiryo UI"/>
                <a:ea typeface="Meiryo UI"/>
              </a:rPr>
              <a:t>地下鉄</a:t>
            </a:r>
            <a:endParaRPr kumimoji="0" lang="en-US" sz="1000" dirty="0">
              <a:latin typeface="Meiryo UI"/>
              <a:ea typeface="Meiryo UI"/>
            </a:endParaRPr>
          </a:p>
        </p:txBody>
      </p:sp>
      <p:grpSp>
        <p:nvGrpSpPr>
          <p:cNvPr id="378" name="Group 572"/>
          <p:cNvGrpSpPr/>
          <p:nvPr/>
        </p:nvGrpSpPr>
        <p:grpSpPr>
          <a:xfrm>
            <a:off x="7198051" y="3176909"/>
            <a:ext cx="3122118" cy="2606479"/>
            <a:chOff x="3808257" y="2400817"/>
            <a:chExt cx="2294490" cy="1944536"/>
          </a:xfrm>
        </p:grpSpPr>
        <p:grpSp>
          <p:nvGrpSpPr>
            <p:cNvPr id="437" name="Group 631"/>
            <p:cNvGrpSpPr/>
            <p:nvPr/>
          </p:nvGrpSpPr>
          <p:grpSpPr>
            <a:xfrm>
              <a:off x="3808257" y="2400817"/>
              <a:ext cx="2294490" cy="1737438"/>
              <a:chOff x="3808257" y="2400817"/>
              <a:chExt cx="2294490" cy="1737438"/>
            </a:xfrm>
          </p:grpSpPr>
          <p:cxnSp>
            <p:nvCxnSpPr>
              <p:cNvPr id="442" name="Straight Connector 636"/>
              <p:cNvCxnSpPr/>
              <p:nvPr/>
            </p:nvCxnSpPr>
            <p:spPr>
              <a:xfrm flipH="1">
                <a:off x="4680774" y="2400817"/>
                <a:ext cx="460769" cy="508588"/>
              </a:xfrm>
              <a:prstGeom prst="line">
                <a:avLst/>
              </a:prstGeom>
              <a:ln w="28575" cap="rnd"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3" name="Straight Connector 637"/>
              <p:cNvCxnSpPr/>
              <p:nvPr/>
            </p:nvCxnSpPr>
            <p:spPr>
              <a:xfrm flipV="1">
                <a:off x="4331088" y="2699470"/>
                <a:ext cx="1453421" cy="1438785"/>
              </a:xfrm>
              <a:prstGeom prst="line">
                <a:avLst/>
              </a:prstGeom>
              <a:ln w="28575" cap="rnd"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4" name="Straight Connector 638"/>
              <p:cNvCxnSpPr/>
              <p:nvPr/>
            </p:nvCxnSpPr>
            <p:spPr>
              <a:xfrm>
                <a:off x="4169836" y="2545915"/>
                <a:ext cx="1910071" cy="1301635"/>
              </a:xfrm>
              <a:prstGeom prst="line">
                <a:avLst/>
              </a:prstGeom>
              <a:ln w="28575" cap="rnd"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5" name="Straight Connector 639"/>
              <p:cNvCxnSpPr/>
              <p:nvPr/>
            </p:nvCxnSpPr>
            <p:spPr>
              <a:xfrm flipH="1">
                <a:off x="5693908" y="3147432"/>
                <a:ext cx="408839" cy="431010"/>
              </a:xfrm>
              <a:prstGeom prst="line">
                <a:avLst/>
              </a:prstGeom>
              <a:ln w="28575" cap="rnd"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6" name="Straight Connector 640"/>
              <p:cNvCxnSpPr/>
              <p:nvPr/>
            </p:nvCxnSpPr>
            <p:spPr>
              <a:xfrm flipH="1">
                <a:off x="5557627" y="3044486"/>
                <a:ext cx="464248" cy="438961"/>
              </a:xfrm>
              <a:prstGeom prst="line">
                <a:avLst/>
              </a:prstGeom>
              <a:ln w="28575" cap="rnd"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7" name="Straight Connector 641"/>
              <p:cNvCxnSpPr/>
              <p:nvPr/>
            </p:nvCxnSpPr>
            <p:spPr>
              <a:xfrm flipH="1" flipV="1">
                <a:off x="4544305" y="2573187"/>
                <a:ext cx="1149603" cy="773719"/>
              </a:xfrm>
              <a:prstGeom prst="line">
                <a:avLst/>
              </a:prstGeom>
              <a:ln w="28575" cap="rnd"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8" name="Straight Connector 642"/>
              <p:cNvCxnSpPr/>
              <p:nvPr/>
            </p:nvCxnSpPr>
            <p:spPr>
              <a:xfrm flipH="1">
                <a:off x="4988195" y="2573187"/>
                <a:ext cx="478451" cy="515217"/>
              </a:xfrm>
              <a:prstGeom prst="line">
                <a:avLst/>
              </a:prstGeom>
              <a:ln w="28575" cap="rnd"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9" name="Straight Connector 643"/>
              <p:cNvCxnSpPr/>
              <p:nvPr/>
            </p:nvCxnSpPr>
            <p:spPr>
              <a:xfrm flipH="1" flipV="1">
                <a:off x="5211073" y="2859278"/>
                <a:ext cx="232733" cy="169038"/>
              </a:xfrm>
              <a:prstGeom prst="line">
                <a:avLst/>
              </a:prstGeom>
              <a:ln w="28575" cap="rnd"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0" name="Straight Connector 644"/>
              <p:cNvCxnSpPr/>
              <p:nvPr/>
            </p:nvCxnSpPr>
            <p:spPr>
              <a:xfrm flipH="1">
                <a:off x="5547943" y="2899845"/>
                <a:ext cx="373026" cy="345780"/>
              </a:xfrm>
              <a:prstGeom prst="line">
                <a:avLst/>
              </a:prstGeom>
              <a:ln w="28575" cap="rnd"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1" name="Straight Connector 645"/>
              <p:cNvCxnSpPr/>
              <p:nvPr/>
            </p:nvCxnSpPr>
            <p:spPr>
              <a:xfrm>
                <a:off x="3919674" y="2821300"/>
                <a:ext cx="1059542" cy="679774"/>
              </a:xfrm>
              <a:prstGeom prst="line">
                <a:avLst/>
              </a:prstGeom>
              <a:ln w="28575" cap="rnd"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2" name="Straight Connector 646"/>
              <p:cNvCxnSpPr/>
              <p:nvPr/>
            </p:nvCxnSpPr>
            <p:spPr>
              <a:xfrm flipH="1">
                <a:off x="4122615" y="3319022"/>
                <a:ext cx="576790" cy="622348"/>
              </a:xfrm>
              <a:prstGeom prst="line">
                <a:avLst/>
              </a:prstGeom>
              <a:ln w="28575" cap="rnd"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3" name="Straight Connector 647"/>
              <p:cNvCxnSpPr/>
              <p:nvPr/>
            </p:nvCxnSpPr>
            <p:spPr>
              <a:xfrm flipH="1">
                <a:off x="3926594" y="3142911"/>
                <a:ext cx="498992" cy="553766"/>
              </a:xfrm>
              <a:prstGeom prst="line">
                <a:avLst/>
              </a:prstGeom>
              <a:ln w="28575" cap="rnd"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4" name="Straight Connector 648"/>
              <p:cNvCxnSpPr/>
              <p:nvPr/>
            </p:nvCxnSpPr>
            <p:spPr>
              <a:xfrm>
                <a:off x="3808257" y="3075569"/>
                <a:ext cx="385413" cy="316850"/>
              </a:xfrm>
              <a:prstGeom prst="line">
                <a:avLst/>
              </a:prstGeom>
              <a:ln w="28575" cap="rnd"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5" name="Straight Connector 649"/>
              <p:cNvCxnSpPr/>
              <p:nvPr/>
            </p:nvCxnSpPr>
            <p:spPr>
              <a:xfrm>
                <a:off x="4290294" y="3293547"/>
                <a:ext cx="272852" cy="181083"/>
              </a:xfrm>
              <a:prstGeom prst="line">
                <a:avLst/>
              </a:prstGeom>
              <a:ln w="28575" cap="rnd"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6" name="Straight Connector 650"/>
              <p:cNvCxnSpPr/>
              <p:nvPr/>
            </p:nvCxnSpPr>
            <p:spPr>
              <a:xfrm>
                <a:off x="4128927" y="3461772"/>
                <a:ext cx="262444" cy="188491"/>
              </a:xfrm>
              <a:prstGeom prst="line">
                <a:avLst/>
              </a:prstGeom>
              <a:ln w="28575" cap="rnd"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7" name="Straight Connector 651"/>
              <p:cNvCxnSpPr/>
              <p:nvPr/>
            </p:nvCxnSpPr>
            <p:spPr>
              <a:xfrm>
                <a:off x="4565632" y="3469971"/>
                <a:ext cx="251236" cy="170696"/>
              </a:xfrm>
              <a:prstGeom prst="line">
                <a:avLst/>
              </a:prstGeom>
              <a:ln w="28575" cap="rnd"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8" name="Straight Connector 652"/>
              <p:cNvCxnSpPr/>
              <p:nvPr/>
            </p:nvCxnSpPr>
            <p:spPr>
              <a:xfrm>
                <a:off x="4285410" y="3766304"/>
                <a:ext cx="227262" cy="187798"/>
              </a:xfrm>
              <a:prstGeom prst="line">
                <a:avLst/>
              </a:prstGeom>
              <a:ln w="28575" cap="rnd"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38" name="Group 632"/>
            <p:cNvGrpSpPr/>
            <p:nvPr/>
          </p:nvGrpSpPr>
          <p:grpSpPr>
            <a:xfrm>
              <a:off x="4283353" y="2430248"/>
              <a:ext cx="1547223" cy="1915105"/>
              <a:chOff x="4283353" y="2430248"/>
              <a:chExt cx="1547223" cy="1915105"/>
            </a:xfrm>
          </p:grpSpPr>
          <p:sp>
            <p:nvSpPr>
              <p:cNvPr id="439" name="Freeform 633"/>
              <p:cNvSpPr/>
              <p:nvPr/>
            </p:nvSpPr>
            <p:spPr bwMode="auto">
              <a:xfrm>
                <a:off x="4504887" y="3640598"/>
                <a:ext cx="547708" cy="429538"/>
              </a:xfrm>
              <a:custGeom>
                <a:avLst/>
                <a:gdLst>
                  <a:gd name="connsiteX0" fmla="*/ 577850 w 950144"/>
                  <a:gd name="connsiteY0" fmla="*/ 0 h 689499"/>
                  <a:gd name="connsiteX1" fmla="*/ 927100 w 950144"/>
                  <a:gd name="connsiteY1" fmla="*/ 647700 h 689499"/>
                  <a:gd name="connsiteX2" fmla="*/ 0 w 950144"/>
                  <a:gd name="connsiteY2" fmla="*/ 571500 h 689499"/>
                  <a:gd name="connsiteX0" fmla="*/ 577850 w 950144"/>
                  <a:gd name="connsiteY0" fmla="*/ 0 h 779666"/>
                  <a:gd name="connsiteX1" fmla="*/ 927100 w 950144"/>
                  <a:gd name="connsiteY1" fmla="*/ 647700 h 779666"/>
                  <a:gd name="connsiteX2" fmla="*/ 0 w 950144"/>
                  <a:gd name="connsiteY2" fmla="*/ 571500 h 779666"/>
                  <a:gd name="connsiteX0" fmla="*/ 577850 w 993064"/>
                  <a:gd name="connsiteY0" fmla="*/ 0 h 779666"/>
                  <a:gd name="connsiteX1" fmla="*/ 927100 w 993064"/>
                  <a:gd name="connsiteY1" fmla="*/ 647700 h 779666"/>
                  <a:gd name="connsiteX2" fmla="*/ 0 w 993064"/>
                  <a:gd name="connsiteY2" fmla="*/ 571500 h 779666"/>
                </a:gdLst>
                <a:ahLst/>
                <a:cxnLst>
                  <a:cxn ang="0">
                    <a:pos x="connsiteX0" y="connsiteY0"/>
                  </a:cxn>
                  <a:cxn ang="0">
                    <a:pos x="connsiteX1" y="connsiteY1"/>
                  </a:cxn>
                  <a:cxn ang="0">
                    <a:pos x="connsiteX2" y="connsiteY2"/>
                  </a:cxn>
                </a:cxnLst>
                <a:rect l="l" t="t" r="r" b="b"/>
                <a:pathLst>
                  <a:path w="993064" h="779666">
                    <a:moveTo>
                      <a:pt x="577850" y="0"/>
                    </a:moveTo>
                    <a:cubicBezTo>
                      <a:pt x="1086379" y="225425"/>
                      <a:pt x="1023408" y="552450"/>
                      <a:pt x="927100" y="647700"/>
                    </a:cubicBezTo>
                    <a:cubicBezTo>
                      <a:pt x="830792" y="742950"/>
                      <a:pt x="599546" y="923925"/>
                      <a:pt x="0" y="571500"/>
                    </a:cubicBezTo>
                  </a:path>
                </a:pathLst>
              </a:custGeom>
              <a:ln w="28575" cap="rnd"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lIns="16459" tIns="8230" rIns="16459" bIns="823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US" sz="2800">
                  <a:solidFill>
                    <a:prstClr val="black"/>
                  </a:solidFill>
                  <a:latin typeface="Trebuchet MS"/>
                  <a:ea typeface="Meiryo UI"/>
                </a:endParaRPr>
              </a:p>
            </p:txBody>
          </p:sp>
          <p:sp>
            <p:nvSpPr>
              <p:cNvPr id="440" name="Freeform 634"/>
              <p:cNvSpPr/>
              <p:nvPr/>
            </p:nvSpPr>
            <p:spPr bwMode="auto">
              <a:xfrm>
                <a:off x="4977082" y="3824007"/>
                <a:ext cx="853494" cy="521346"/>
              </a:xfrm>
              <a:custGeom>
                <a:avLst/>
                <a:gdLst>
                  <a:gd name="connsiteX0" fmla="*/ 0 w 644525"/>
                  <a:gd name="connsiteY0" fmla="*/ 393700 h 393700"/>
                  <a:gd name="connsiteX1" fmla="*/ 317500 w 644525"/>
                  <a:gd name="connsiteY1" fmla="*/ 0 h 393700"/>
                  <a:gd name="connsiteX2" fmla="*/ 644525 w 644525"/>
                  <a:gd name="connsiteY2" fmla="*/ 209550 h 393700"/>
                </a:gdLst>
                <a:ahLst/>
                <a:cxnLst>
                  <a:cxn ang="0">
                    <a:pos x="connsiteX0" y="connsiteY0"/>
                  </a:cxn>
                  <a:cxn ang="0">
                    <a:pos x="connsiteX1" y="connsiteY1"/>
                  </a:cxn>
                  <a:cxn ang="0">
                    <a:pos x="connsiteX2" y="connsiteY2"/>
                  </a:cxn>
                </a:cxnLst>
                <a:rect l="l" t="t" r="r" b="b"/>
                <a:pathLst>
                  <a:path w="644525" h="393700">
                    <a:moveTo>
                      <a:pt x="0" y="393700"/>
                    </a:moveTo>
                    <a:lnTo>
                      <a:pt x="317500" y="0"/>
                    </a:lnTo>
                    <a:lnTo>
                      <a:pt x="644525" y="209550"/>
                    </a:lnTo>
                  </a:path>
                </a:pathLst>
              </a:custGeom>
              <a:ln w="28575" cap="rnd"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lIns="21946" tIns="10973" rIns="21946" bIns="10973"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US" sz="3200">
                  <a:solidFill>
                    <a:prstClr val="black"/>
                  </a:solidFill>
                  <a:latin typeface="Trebuchet MS"/>
                  <a:ea typeface="Meiryo UI"/>
                </a:endParaRPr>
              </a:p>
            </p:txBody>
          </p:sp>
          <p:sp>
            <p:nvSpPr>
              <p:cNvPr id="441" name="Freeform 635"/>
              <p:cNvSpPr/>
              <p:nvPr/>
            </p:nvSpPr>
            <p:spPr bwMode="auto">
              <a:xfrm>
                <a:off x="4283353" y="2430248"/>
                <a:ext cx="971217" cy="391009"/>
              </a:xfrm>
              <a:custGeom>
                <a:avLst/>
                <a:gdLst>
                  <a:gd name="connsiteX0" fmla="*/ 0 w 723900"/>
                  <a:gd name="connsiteY0" fmla="*/ 295275 h 295275"/>
                  <a:gd name="connsiteX1" fmla="*/ 309563 w 723900"/>
                  <a:gd name="connsiteY1" fmla="*/ 0 h 295275"/>
                  <a:gd name="connsiteX2" fmla="*/ 723900 w 723900"/>
                  <a:gd name="connsiteY2" fmla="*/ 268288 h 295275"/>
                </a:gdLst>
                <a:ahLst/>
                <a:cxnLst>
                  <a:cxn ang="0">
                    <a:pos x="connsiteX0" y="connsiteY0"/>
                  </a:cxn>
                  <a:cxn ang="0">
                    <a:pos x="connsiteX1" y="connsiteY1"/>
                  </a:cxn>
                  <a:cxn ang="0">
                    <a:pos x="connsiteX2" y="connsiteY2"/>
                  </a:cxn>
                </a:cxnLst>
                <a:rect l="l" t="t" r="r" b="b"/>
                <a:pathLst>
                  <a:path w="723900" h="295275">
                    <a:moveTo>
                      <a:pt x="0" y="295275"/>
                    </a:moveTo>
                    <a:lnTo>
                      <a:pt x="309563" y="0"/>
                    </a:lnTo>
                    <a:lnTo>
                      <a:pt x="723900" y="268288"/>
                    </a:lnTo>
                  </a:path>
                </a:pathLst>
              </a:custGeom>
              <a:ln w="28575" cap="rnd"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US">
                  <a:solidFill>
                    <a:srgbClr val="000000"/>
                  </a:solidFill>
                  <a:latin typeface="Trebuchet MS"/>
                  <a:ea typeface="Meiryo UI"/>
                </a:endParaRPr>
              </a:p>
            </p:txBody>
          </p:sp>
        </p:grpSp>
      </p:grpSp>
      <p:sp>
        <p:nvSpPr>
          <p:cNvPr id="379" name="Oval 1050"/>
          <p:cNvSpPr/>
          <p:nvPr/>
        </p:nvSpPr>
        <p:spPr bwMode="auto">
          <a:xfrm rot="1018853">
            <a:off x="7148480" y="3147293"/>
            <a:ext cx="3252612" cy="2602102"/>
          </a:xfrm>
          <a:custGeom>
            <a:avLst/>
            <a:gdLst>
              <a:gd name="connsiteX0" fmla="*/ 0 w 4503090"/>
              <a:gd name="connsiteY0" fmla="*/ 1828510 h 3657019"/>
              <a:gd name="connsiteX1" fmla="*/ 2251545 w 4503090"/>
              <a:gd name="connsiteY1" fmla="*/ 0 h 3657019"/>
              <a:gd name="connsiteX2" fmla="*/ 4503090 w 4503090"/>
              <a:gd name="connsiteY2" fmla="*/ 1828510 h 3657019"/>
              <a:gd name="connsiteX3" fmla="*/ 2251545 w 4503090"/>
              <a:gd name="connsiteY3" fmla="*/ 3657020 h 3657019"/>
              <a:gd name="connsiteX4" fmla="*/ 0 w 4503090"/>
              <a:gd name="connsiteY4" fmla="*/ 1828510 h 3657019"/>
              <a:gd name="connsiteX0" fmla="*/ 0 w 4503090"/>
              <a:gd name="connsiteY0" fmla="*/ 1828510 h 3657020"/>
              <a:gd name="connsiteX1" fmla="*/ 2251545 w 4503090"/>
              <a:gd name="connsiteY1" fmla="*/ 0 h 3657020"/>
              <a:gd name="connsiteX2" fmla="*/ 4503090 w 4503090"/>
              <a:gd name="connsiteY2" fmla="*/ 1828510 h 3657020"/>
              <a:gd name="connsiteX3" fmla="*/ 2251545 w 4503090"/>
              <a:gd name="connsiteY3" fmla="*/ 3657020 h 3657020"/>
              <a:gd name="connsiteX4" fmla="*/ 0 w 4503090"/>
              <a:gd name="connsiteY4" fmla="*/ 1828510 h 3657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3090" h="3657020">
                <a:moveTo>
                  <a:pt x="0" y="1828510"/>
                </a:moveTo>
                <a:cubicBezTo>
                  <a:pt x="0" y="818652"/>
                  <a:pt x="1008051" y="0"/>
                  <a:pt x="2251545" y="0"/>
                </a:cubicBezTo>
                <a:cubicBezTo>
                  <a:pt x="3495039" y="0"/>
                  <a:pt x="4503090" y="818652"/>
                  <a:pt x="4503090" y="1828510"/>
                </a:cubicBezTo>
                <a:cubicBezTo>
                  <a:pt x="4503090" y="2838368"/>
                  <a:pt x="3495039" y="3657020"/>
                  <a:pt x="2251545" y="3657020"/>
                </a:cubicBezTo>
                <a:cubicBezTo>
                  <a:pt x="1008051" y="3657020"/>
                  <a:pt x="0" y="2838368"/>
                  <a:pt x="0" y="1828510"/>
                </a:cubicBezTo>
                <a:close/>
              </a:path>
            </a:pathLst>
          </a:custGeom>
          <a:solidFill>
            <a:srgbClr val="ECEBB6">
              <a:alpha val="80000"/>
            </a:srgbClr>
          </a:solidFill>
          <a:ln w="254000" cap="flat" cmpd="sng" algn="ctr">
            <a:noFill/>
            <a:prstDash val="solid"/>
            <a:miter lim="800000"/>
            <a:headEnd type="none" w="med" len="med"/>
            <a:tailEnd type="none" w="med" len="med"/>
          </a:ln>
        </p:spPr>
        <p:txBody>
          <a:bodyPr wrap="none" lIns="1555" tIns="466" rIns="1555" bIns="466"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5738" indent="-185738" algn="ctr">
              <a:buClr>
                <a:srgbClr val="969696"/>
              </a:buClr>
              <a:buSzPct val="80000"/>
              <a:defRPr/>
            </a:pPr>
            <a:endParaRPr kumimoji="0" lang="en-US" sz="2800" dirty="0">
              <a:solidFill>
                <a:prstClr val="black"/>
              </a:solidFill>
              <a:latin typeface="Meiryo UI"/>
              <a:ea typeface="Meiryo UI"/>
            </a:endParaRPr>
          </a:p>
        </p:txBody>
      </p:sp>
      <p:sp>
        <p:nvSpPr>
          <p:cNvPr id="380" name="Oval 574"/>
          <p:cNvSpPr/>
          <p:nvPr/>
        </p:nvSpPr>
        <p:spPr bwMode="auto">
          <a:xfrm rot="1018853">
            <a:off x="7131051" y="3141254"/>
            <a:ext cx="3268895" cy="2612232"/>
          </a:xfrm>
          <a:prstGeom prst="ellipse">
            <a:avLst/>
          </a:prstGeom>
          <a:ln w="76200" cap="flat" cmpd="sng" algn="ctr">
            <a:solidFill>
              <a:schemeClr val="accent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wrap="none" lIns="6480" tIns="1944" rIns="6480" bIns="194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5738" indent="-185738" algn="ctr">
              <a:buClr>
                <a:srgbClr val="969696"/>
              </a:buClr>
              <a:buSzPct val="80000"/>
              <a:defRPr/>
            </a:pPr>
            <a:endParaRPr kumimoji="0" lang="en-US" sz="2000" dirty="0">
              <a:solidFill>
                <a:prstClr val="black"/>
              </a:solidFill>
              <a:latin typeface="Meiryo UI"/>
              <a:ea typeface="Meiryo UI"/>
            </a:endParaRPr>
          </a:p>
        </p:txBody>
      </p:sp>
      <p:cxnSp>
        <p:nvCxnSpPr>
          <p:cNvPr id="401" name="Straight Connector 595"/>
          <p:cNvCxnSpPr/>
          <p:nvPr/>
        </p:nvCxnSpPr>
        <p:spPr>
          <a:xfrm>
            <a:off x="7214073" y="3305716"/>
            <a:ext cx="3152455" cy="2067787"/>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2" name="Straight Connector 596"/>
          <p:cNvCxnSpPr/>
          <p:nvPr/>
        </p:nvCxnSpPr>
        <p:spPr>
          <a:xfrm flipV="1">
            <a:off x="10321906" y="5311562"/>
            <a:ext cx="62156" cy="74753"/>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4" name="Straight Connector 598"/>
          <p:cNvCxnSpPr/>
          <p:nvPr/>
        </p:nvCxnSpPr>
        <p:spPr>
          <a:xfrm flipV="1">
            <a:off x="7262167" y="3298375"/>
            <a:ext cx="62156" cy="74753"/>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5" name="Straight Connector 599"/>
          <p:cNvCxnSpPr/>
          <p:nvPr/>
        </p:nvCxnSpPr>
        <p:spPr>
          <a:xfrm flipV="1">
            <a:off x="7354888" y="3359381"/>
            <a:ext cx="62156" cy="74753"/>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6" name="Straight Connector 600"/>
          <p:cNvCxnSpPr/>
          <p:nvPr/>
        </p:nvCxnSpPr>
        <p:spPr>
          <a:xfrm flipV="1">
            <a:off x="7447608" y="3420388"/>
            <a:ext cx="62156" cy="74753"/>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7" name="Straight Connector 601"/>
          <p:cNvCxnSpPr/>
          <p:nvPr/>
        </p:nvCxnSpPr>
        <p:spPr>
          <a:xfrm flipV="1">
            <a:off x="7540327" y="3481392"/>
            <a:ext cx="62156" cy="74753"/>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8" name="Straight Connector 602"/>
          <p:cNvCxnSpPr/>
          <p:nvPr/>
        </p:nvCxnSpPr>
        <p:spPr>
          <a:xfrm flipV="1">
            <a:off x="10043756" y="5128555"/>
            <a:ext cx="62156" cy="74753"/>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9" name="Straight Connector 603"/>
          <p:cNvCxnSpPr/>
          <p:nvPr/>
        </p:nvCxnSpPr>
        <p:spPr>
          <a:xfrm flipV="1">
            <a:off x="9023841" y="4457488"/>
            <a:ext cx="62156" cy="74753"/>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0" name="Straight Connector 604"/>
          <p:cNvCxnSpPr/>
          <p:nvPr/>
        </p:nvCxnSpPr>
        <p:spPr>
          <a:xfrm flipV="1">
            <a:off x="9116560" y="4518495"/>
            <a:ext cx="62156" cy="74753"/>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1" name="Straight Connector 605"/>
          <p:cNvCxnSpPr/>
          <p:nvPr/>
        </p:nvCxnSpPr>
        <p:spPr>
          <a:xfrm flipV="1">
            <a:off x="9209279" y="4579501"/>
            <a:ext cx="62156" cy="74753"/>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2" name="Straight Connector 606"/>
          <p:cNvCxnSpPr/>
          <p:nvPr/>
        </p:nvCxnSpPr>
        <p:spPr>
          <a:xfrm flipV="1">
            <a:off x="9302000" y="4640507"/>
            <a:ext cx="62156" cy="74753"/>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3" name="Straight Connector 607"/>
          <p:cNvCxnSpPr/>
          <p:nvPr/>
        </p:nvCxnSpPr>
        <p:spPr>
          <a:xfrm flipV="1">
            <a:off x="9394718" y="4701512"/>
            <a:ext cx="62156" cy="74753"/>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4" name="Straight Connector 608"/>
          <p:cNvCxnSpPr/>
          <p:nvPr/>
        </p:nvCxnSpPr>
        <p:spPr>
          <a:xfrm flipV="1">
            <a:off x="9580158" y="4823524"/>
            <a:ext cx="62156" cy="74753"/>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5" name="Straight Connector 609"/>
          <p:cNvCxnSpPr/>
          <p:nvPr/>
        </p:nvCxnSpPr>
        <p:spPr>
          <a:xfrm flipV="1">
            <a:off x="9672877" y="4884532"/>
            <a:ext cx="62156" cy="74753"/>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6" name="Straight Connector 610"/>
          <p:cNvCxnSpPr/>
          <p:nvPr/>
        </p:nvCxnSpPr>
        <p:spPr>
          <a:xfrm flipV="1">
            <a:off x="9858317" y="5006543"/>
            <a:ext cx="62156" cy="74753"/>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7" name="Straight Connector 611"/>
          <p:cNvCxnSpPr/>
          <p:nvPr/>
        </p:nvCxnSpPr>
        <p:spPr>
          <a:xfrm flipV="1">
            <a:off x="9951038" y="5067549"/>
            <a:ext cx="62156" cy="74753"/>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8" name="Straight Connector 612"/>
          <p:cNvCxnSpPr/>
          <p:nvPr/>
        </p:nvCxnSpPr>
        <p:spPr>
          <a:xfrm flipV="1">
            <a:off x="10136475" y="5189560"/>
            <a:ext cx="62156" cy="74753"/>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9" name="Straight Connector 613"/>
          <p:cNvCxnSpPr/>
          <p:nvPr/>
        </p:nvCxnSpPr>
        <p:spPr>
          <a:xfrm flipV="1">
            <a:off x="10229195" y="5250567"/>
            <a:ext cx="62156" cy="74753"/>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0" name="Straight Connector 614"/>
          <p:cNvCxnSpPr/>
          <p:nvPr/>
        </p:nvCxnSpPr>
        <p:spPr>
          <a:xfrm flipV="1">
            <a:off x="9765598" y="4945537"/>
            <a:ext cx="62156" cy="74753"/>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1" name="Straight Connector 615"/>
          <p:cNvCxnSpPr/>
          <p:nvPr/>
        </p:nvCxnSpPr>
        <p:spPr>
          <a:xfrm flipV="1">
            <a:off x="9487439" y="4762519"/>
            <a:ext cx="62156" cy="74753"/>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2" name="Straight Connector 616"/>
          <p:cNvCxnSpPr/>
          <p:nvPr/>
        </p:nvCxnSpPr>
        <p:spPr>
          <a:xfrm flipV="1">
            <a:off x="8931120" y="4396484"/>
            <a:ext cx="62156" cy="74753"/>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3" name="Straight Connector 617"/>
          <p:cNvCxnSpPr/>
          <p:nvPr/>
        </p:nvCxnSpPr>
        <p:spPr>
          <a:xfrm flipV="1">
            <a:off x="8652962" y="4213465"/>
            <a:ext cx="62156" cy="74753"/>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4" name="Straight Connector 618"/>
          <p:cNvCxnSpPr/>
          <p:nvPr/>
        </p:nvCxnSpPr>
        <p:spPr>
          <a:xfrm flipV="1">
            <a:off x="7633047" y="3542400"/>
            <a:ext cx="62156" cy="74753"/>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5" name="Straight Connector 619"/>
          <p:cNvCxnSpPr/>
          <p:nvPr/>
        </p:nvCxnSpPr>
        <p:spPr>
          <a:xfrm flipV="1">
            <a:off x="7725765" y="3603405"/>
            <a:ext cx="62156" cy="74753"/>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6" name="Straight Connector 620"/>
          <p:cNvCxnSpPr/>
          <p:nvPr/>
        </p:nvCxnSpPr>
        <p:spPr>
          <a:xfrm flipV="1">
            <a:off x="7818486" y="3664411"/>
            <a:ext cx="62156" cy="74753"/>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7" name="Straight Connector 621"/>
          <p:cNvCxnSpPr/>
          <p:nvPr/>
        </p:nvCxnSpPr>
        <p:spPr>
          <a:xfrm flipV="1">
            <a:off x="7911206" y="3725417"/>
            <a:ext cx="62156" cy="74753"/>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8" name="Straight Connector 622"/>
          <p:cNvCxnSpPr/>
          <p:nvPr/>
        </p:nvCxnSpPr>
        <p:spPr>
          <a:xfrm flipV="1">
            <a:off x="8003924" y="3786423"/>
            <a:ext cx="62156" cy="74753"/>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9" name="Straight Connector 623"/>
          <p:cNvCxnSpPr/>
          <p:nvPr/>
        </p:nvCxnSpPr>
        <p:spPr>
          <a:xfrm flipV="1">
            <a:off x="8189363" y="3908436"/>
            <a:ext cx="62156" cy="74753"/>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0" name="Straight Connector 624"/>
          <p:cNvCxnSpPr/>
          <p:nvPr/>
        </p:nvCxnSpPr>
        <p:spPr>
          <a:xfrm flipV="1">
            <a:off x="8282084" y="3969440"/>
            <a:ext cx="62156" cy="74753"/>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1" name="Straight Connector 625"/>
          <p:cNvCxnSpPr/>
          <p:nvPr/>
        </p:nvCxnSpPr>
        <p:spPr>
          <a:xfrm flipV="1">
            <a:off x="8467522" y="4091453"/>
            <a:ext cx="62156" cy="74753"/>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2" name="Straight Connector 626"/>
          <p:cNvCxnSpPr/>
          <p:nvPr/>
        </p:nvCxnSpPr>
        <p:spPr>
          <a:xfrm flipV="1">
            <a:off x="8560243" y="4152459"/>
            <a:ext cx="62156" cy="74753"/>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3" name="Straight Connector 627"/>
          <p:cNvCxnSpPr/>
          <p:nvPr/>
        </p:nvCxnSpPr>
        <p:spPr>
          <a:xfrm flipV="1">
            <a:off x="8745683" y="4274471"/>
            <a:ext cx="62156" cy="74753"/>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4" name="Straight Connector 628"/>
          <p:cNvCxnSpPr/>
          <p:nvPr/>
        </p:nvCxnSpPr>
        <p:spPr>
          <a:xfrm flipV="1">
            <a:off x="8838402" y="4335476"/>
            <a:ext cx="62156" cy="74753"/>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5" name="Straight Connector 629"/>
          <p:cNvCxnSpPr/>
          <p:nvPr/>
        </p:nvCxnSpPr>
        <p:spPr>
          <a:xfrm flipV="1">
            <a:off x="8374804" y="4030448"/>
            <a:ext cx="62156" cy="74753"/>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6" name="Straight Connector 630"/>
          <p:cNvCxnSpPr/>
          <p:nvPr/>
        </p:nvCxnSpPr>
        <p:spPr>
          <a:xfrm flipV="1">
            <a:off x="8096645" y="3847428"/>
            <a:ext cx="62156" cy="74753"/>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43" name="Freeform 515"/>
          <p:cNvSpPr/>
          <p:nvPr/>
        </p:nvSpPr>
        <p:spPr bwMode="auto">
          <a:xfrm>
            <a:off x="7854203" y="3215953"/>
            <a:ext cx="1431448" cy="544727"/>
          </a:xfrm>
          <a:custGeom>
            <a:avLst/>
            <a:gdLst>
              <a:gd name="connsiteX0" fmla="*/ 0 w 1727200"/>
              <a:gd name="connsiteY0" fmla="*/ 254000 h 641350"/>
              <a:gd name="connsiteX1" fmla="*/ 254000 w 1727200"/>
              <a:gd name="connsiteY1" fmla="*/ 400050 h 641350"/>
              <a:gd name="connsiteX2" fmla="*/ 692150 w 1727200"/>
              <a:gd name="connsiteY2" fmla="*/ 0 h 641350"/>
              <a:gd name="connsiteX3" fmla="*/ 1727200 w 1727200"/>
              <a:gd name="connsiteY3" fmla="*/ 641350 h 641350"/>
              <a:gd name="connsiteX0" fmla="*/ 0 w 2068950"/>
              <a:gd name="connsiteY0" fmla="*/ 254000 h 884522"/>
              <a:gd name="connsiteX1" fmla="*/ 254000 w 2068950"/>
              <a:gd name="connsiteY1" fmla="*/ 400050 h 884522"/>
              <a:gd name="connsiteX2" fmla="*/ 692150 w 2068950"/>
              <a:gd name="connsiteY2" fmla="*/ 0 h 884522"/>
              <a:gd name="connsiteX3" fmla="*/ 2068950 w 2068950"/>
              <a:gd name="connsiteY3" fmla="*/ 884522 h 884522"/>
              <a:gd name="connsiteX0" fmla="*/ 0 w 2068950"/>
              <a:gd name="connsiteY0" fmla="*/ 254000 h 884522"/>
              <a:gd name="connsiteX1" fmla="*/ 312990 w 2068950"/>
              <a:gd name="connsiteY1" fmla="*/ 521094 h 884522"/>
              <a:gd name="connsiteX2" fmla="*/ 692150 w 2068950"/>
              <a:gd name="connsiteY2" fmla="*/ 0 h 884522"/>
              <a:gd name="connsiteX3" fmla="*/ 2068950 w 2068950"/>
              <a:gd name="connsiteY3" fmla="*/ 884522 h 884522"/>
              <a:gd name="connsiteX0" fmla="*/ 0 w 2068950"/>
              <a:gd name="connsiteY0" fmla="*/ 198134 h 828656"/>
              <a:gd name="connsiteX1" fmla="*/ 312990 w 2068950"/>
              <a:gd name="connsiteY1" fmla="*/ 465228 h 828656"/>
              <a:gd name="connsiteX2" fmla="*/ 793279 w 2068950"/>
              <a:gd name="connsiteY2" fmla="*/ 0 h 828656"/>
              <a:gd name="connsiteX3" fmla="*/ 2068950 w 2068950"/>
              <a:gd name="connsiteY3" fmla="*/ 828656 h 828656"/>
              <a:gd name="connsiteX0" fmla="*/ 0 w 2102659"/>
              <a:gd name="connsiteY0" fmla="*/ 254000 h 828656"/>
              <a:gd name="connsiteX1" fmla="*/ 346699 w 2102659"/>
              <a:gd name="connsiteY1" fmla="*/ 465228 h 828656"/>
              <a:gd name="connsiteX2" fmla="*/ 826988 w 2102659"/>
              <a:gd name="connsiteY2" fmla="*/ 0 h 828656"/>
              <a:gd name="connsiteX3" fmla="*/ 2102659 w 2102659"/>
              <a:gd name="connsiteY3" fmla="*/ 828656 h 828656"/>
              <a:gd name="connsiteX0" fmla="*/ 0 w 2102659"/>
              <a:gd name="connsiteY0" fmla="*/ 254000 h 828656"/>
              <a:gd name="connsiteX1" fmla="*/ 296135 w 2102659"/>
              <a:gd name="connsiteY1" fmla="*/ 483851 h 828656"/>
              <a:gd name="connsiteX2" fmla="*/ 826988 w 2102659"/>
              <a:gd name="connsiteY2" fmla="*/ 0 h 828656"/>
              <a:gd name="connsiteX3" fmla="*/ 2102659 w 2102659"/>
              <a:gd name="connsiteY3" fmla="*/ 828656 h 828656"/>
              <a:gd name="connsiteX0" fmla="*/ 0 w 2102659"/>
              <a:gd name="connsiteY0" fmla="*/ 291246 h 865902"/>
              <a:gd name="connsiteX1" fmla="*/ 296135 w 2102659"/>
              <a:gd name="connsiteY1" fmla="*/ 521097 h 865902"/>
              <a:gd name="connsiteX2" fmla="*/ 793279 w 2102659"/>
              <a:gd name="connsiteY2" fmla="*/ 0 h 865902"/>
              <a:gd name="connsiteX3" fmla="*/ 2102659 w 2102659"/>
              <a:gd name="connsiteY3" fmla="*/ 865902 h 865902"/>
              <a:gd name="connsiteX0" fmla="*/ 0 w 2094230"/>
              <a:gd name="connsiteY0" fmla="*/ 291246 h 893835"/>
              <a:gd name="connsiteX1" fmla="*/ 296135 w 2094230"/>
              <a:gd name="connsiteY1" fmla="*/ 521097 h 893835"/>
              <a:gd name="connsiteX2" fmla="*/ 793279 w 2094230"/>
              <a:gd name="connsiteY2" fmla="*/ 0 h 893835"/>
              <a:gd name="connsiteX3" fmla="*/ 2094230 w 2094230"/>
              <a:gd name="connsiteY3" fmla="*/ 893835 h 893835"/>
              <a:gd name="connsiteX0" fmla="*/ 0 w 2094230"/>
              <a:gd name="connsiteY0" fmla="*/ 291246 h 893835"/>
              <a:gd name="connsiteX1" fmla="*/ 296135 w 2094230"/>
              <a:gd name="connsiteY1" fmla="*/ 521097 h 893835"/>
              <a:gd name="connsiteX2" fmla="*/ 793279 w 2094230"/>
              <a:gd name="connsiteY2" fmla="*/ 0 h 893835"/>
              <a:gd name="connsiteX3" fmla="*/ 2094230 w 2094230"/>
              <a:gd name="connsiteY3" fmla="*/ 893835 h 893835"/>
            </a:gdLst>
            <a:ahLst/>
            <a:cxnLst>
              <a:cxn ang="0">
                <a:pos x="connsiteX0" y="connsiteY0"/>
              </a:cxn>
              <a:cxn ang="0">
                <a:pos x="connsiteX1" y="connsiteY1"/>
              </a:cxn>
              <a:cxn ang="0">
                <a:pos x="connsiteX2" y="connsiteY2"/>
              </a:cxn>
              <a:cxn ang="0">
                <a:pos x="connsiteX3" y="connsiteY3"/>
              </a:cxn>
            </a:cxnLst>
            <a:rect l="l" t="t" r="r" b="b"/>
            <a:pathLst>
              <a:path w="2094230" h="893835">
                <a:moveTo>
                  <a:pt x="0" y="291246"/>
                </a:moveTo>
                <a:lnTo>
                  <a:pt x="296135" y="521097"/>
                </a:lnTo>
                <a:lnTo>
                  <a:pt x="793279" y="0"/>
                </a:lnTo>
                <a:cubicBezTo>
                  <a:pt x="1138296" y="213783"/>
                  <a:pt x="1774495" y="652119"/>
                  <a:pt x="2094230" y="893835"/>
                </a:cubicBezTo>
              </a:path>
            </a:pathLst>
          </a:custGeom>
          <a:noFill/>
          <a:ln w="38100" cap="flat" cmpd="sng" algn="ctr">
            <a:solidFill>
              <a:schemeClr val="accent6"/>
            </a:solidFill>
            <a:prstDash val="solid"/>
            <a:miter lim="800000"/>
            <a:headEnd type="triangle" w="med" len="med"/>
            <a:tailEnd type="oval" w="med" len="med"/>
          </a:ln>
        </p:spPr>
        <p:txBody>
          <a:bodyPr lIns="5267" tIns="2634" rIns="5267" bIns="263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US" sz="2800">
              <a:solidFill>
                <a:prstClr val="black"/>
              </a:solidFill>
              <a:latin typeface="Trebuchet MS"/>
              <a:ea typeface="Meiryo UI"/>
            </a:endParaRPr>
          </a:p>
        </p:txBody>
      </p:sp>
      <p:sp>
        <p:nvSpPr>
          <p:cNvPr id="344" name="Freeform 516"/>
          <p:cNvSpPr/>
          <p:nvPr/>
        </p:nvSpPr>
        <p:spPr bwMode="auto">
          <a:xfrm>
            <a:off x="7505718" y="3811750"/>
            <a:ext cx="1746578" cy="864461"/>
          </a:xfrm>
          <a:custGeom>
            <a:avLst/>
            <a:gdLst>
              <a:gd name="connsiteX0" fmla="*/ 0 w 2760785"/>
              <a:gd name="connsiteY0" fmla="*/ 0 h 1204546"/>
              <a:gd name="connsiteX1" fmla="*/ 1881554 w 2760785"/>
              <a:gd name="connsiteY1" fmla="*/ 1204546 h 1204546"/>
              <a:gd name="connsiteX2" fmla="*/ 2760785 w 2760785"/>
              <a:gd name="connsiteY2" fmla="*/ 342900 h 1204546"/>
              <a:gd name="connsiteX3" fmla="*/ 2602523 w 2760785"/>
              <a:gd name="connsiteY3" fmla="*/ 219807 h 1204546"/>
              <a:gd name="connsiteX0" fmla="*/ 0 w 2898800"/>
              <a:gd name="connsiteY0" fmla="*/ 0 h 1204546"/>
              <a:gd name="connsiteX1" fmla="*/ 1881554 w 2898800"/>
              <a:gd name="connsiteY1" fmla="*/ 1204546 h 1204546"/>
              <a:gd name="connsiteX2" fmla="*/ 2898800 w 2898800"/>
              <a:gd name="connsiteY2" fmla="*/ 126018 h 1204546"/>
              <a:gd name="connsiteX3" fmla="*/ 2602523 w 2898800"/>
              <a:gd name="connsiteY3" fmla="*/ 219807 h 1204546"/>
              <a:gd name="connsiteX0" fmla="*/ 0 w 2898800"/>
              <a:gd name="connsiteY0" fmla="*/ 0 h 1204546"/>
              <a:gd name="connsiteX1" fmla="*/ 1881554 w 2898800"/>
              <a:gd name="connsiteY1" fmla="*/ 1204546 h 1204546"/>
              <a:gd name="connsiteX2" fmla="*/ 2898800 w 2898800"/>
              <a:gd name="connsiteY2" fmla="*/ 126018 h 1204546"/>
              <a:gd name="connsiteX0" fmla="*/ 0 w 2859367"/>
              <a:gd name="connsiteY0" fmla="*/ 0 h 1204546"/>
              <a:gd name="connsiteX1" fmla="*/ 1881554 w 2859367"/>
              <a:gd name="connsiteY1" fmla="*/ 1204546 h 1204546"/>
              <a:gd name="connsiteX2" fmla="*/ 2859367 w 2859367"/>
              <a:gd name="connsiteY2" fmla="*/ 172024 h 1204546"/>
              <a:gd name="connsiteX0" fmla="*/ 0 w 2571013"/>
              <a:gd name="connsiteY0" fmla="*/ 0 h 1204546"/>
              <a:gd name="connsiteX1" fmla="*/ 1881554 w 2571013"/>
              <a:gd name="connsiteY1" fmla="*/ 1204546 h 1204546"/>
              <a:gd name="connsiteX2" fmla="*/ 2571013 w 2571013"/>
              <a:gd name="connsiteY2" fmla="*/ 504742 h 1204546"/>
            </a:gdLst>
            <a:ahLst/>
            <a:cxnLst>
              <a:cxn ang="0">
                <a:pos x="connsiteX0" y="connsiteY0"/>
              </a:cxn>
              <a:cxn ang="0">
                <a:pos x="connsiteX1" y="connsiteY1"/>
              </a:cxn>
              <a:cxn ang="0">
                <a:pos x="connsiteX2" y="connsiteY2"/>
              </a:cxn>
            </a:cxnLst>
            <a:rect l="l" t="t" r="r" b="b"/>
            <a:pathLst>
              <a:path w="2571013" h="1204546">
                <a:moveTo>
                  <a:pt x="0" y="0"/>
                </a:moveTo>
                <a:lnTo>
                  <a:pt x="1881554" y="1204546"/>
                </a:lnTo>
                <a:cubicBezTo>
                  <a:pt x="2207492" y="860372"/>
                  <a:pt x="2245075" y="848916"/>
                  <a:pt x="2571013" y="504742"/>
                </a:cubicBezTo>
              </a:path>
            </a:pathLst>
          </a:custGeom>
          <a:noFill/>
          <a:ln w="28575" algn="ctr">
            <a:solidFill>
              <a:schemeClr val="accent1"/>
            </a:solidFill>
            <a:prstDash val="sysDot"/>
            <a:round/>
            <a:headEnd type="triangle"/>
            <a:tailEnd/>
          </a:ln>
        </p:spPr>
        <p:txBody>
          <a:bodyPr lIns="21946" tIns="10973" rIns="21946" bIns="10973"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US" sz="3200">
              <a:solidFill>
                <a:prstClr val="black"/>
              </a:solidFill>
              <a:latin typeface="Trebuchet MS"/>
              <a:ea typeface="Meiryo UI"/>
            </a:endParaRPr>
          </a:p>
        </p:txBody>
      </p:sp>
      <p:sp>
        <p:nvSpPr>
          <p:cNvPr id="345" name="Freeform 517"/>
          <p:cNvSpPr/>
          <p:nvPr/>
        </p:nvSpPr>
        <p:spPr bwMode="auto">
          <a:xfrm>
            <a:off x="7874256" y="3470547"/>
            <a:ext cx="1148698" cy="792265"/>
          </a:xfrm>
          <a:custGeom>
            <a:avLst/>
            <a:gdLst>
              <a:gd name="connsiteX0" fmla="*/ 0 w 2508250"/>
              <a:gd name="connsiteY0" fmla="*/ 0 h 1644650"/>
              <a:gd name="connsiteX1" fmla="*/ 2432050 w 2508250"/>
              <a:gd name="connsiteY1" fmla="*/ 1644650 h 1644650"/>
              <a:gd name="connsiteX2" fmla="*/ 2508250 w 2508250"/>
              <a:gd name="connsiteY2" fmla="*/ 1555750 h 1644650"/>
              <a:gd name="connsiteX0" fmla="*/ 0 w 2698929"/>
              <a:gd name="connsiteY0" fmla="*/ 0 h 1825385"/>
              <a:gd name="connsiteX1" fmla="*/ 2697042 w 2698929"/>
              <a:gd name="connsiteY1" fmla="*/ 1825385 h 1825385"/>
              <a:gd name="connsiteX2" fmla="*/ 2508250 w 2698929"/>
              <a:gd name="connsiteY2" fmla="*/ 1555750 h 1825385"/>
              <a:gd name="connsiteX0" fmla="*/ 0 w 2888456"/>
              <a:gd name="connsiteY0" fmla="*/ 0 h 1825385"/>
              <a:gd name="connsiteX1" fmla="*/ 2697042 w 2888456"/>
              <a:gd name="connsiteY1" fmla="*/ 1825385 h 1825385"/>
              <a:gd name="connsiteX2" fmla="*/ 2888456 w 2888456"/>
              <a:gd name="connsiteY2" fmla="*/ 1623531 h 1825385"/>
              <a:gd name="connsiteX0" fmla="*/ 0 w 2888456"/>
              <a:gd name="connsiteY0" fmla="*/ 0 h 1701128"/>
              <a:gd name="connsiteX1" fmla="*/ 2478136 w 2888456"/>
              <a:gd name="connsiteY1" fmla="*/ 1701128 h 1701128"/>
              <a:gd name="connsiteX2" fmla="*/ 2888456 w 2888456"/>
              <a:gd name="connsiteY2" fmla="*/ 1623531 h 1701128"/>
              <a:gd name="connsiteX0" fmla="*/ 0 w 2478136"/>
              <a:gd name="connsiteY0" fmla="*/ 0 h 1701128"/>
              <a:gd name="connsiteX1" fmla="*/ 2478136 w 2478136"/>
              <a:gd name="connsiteY1" fmla="*/ 1701128 h 1701128"/>
            </a:gdLst>
            <a:ahLst/>
            <a:cxnLst>
              <a:cxn ang="0">
                <a:pos x="connsiteX0" y="connsiteY0"/>
              </a:cxn>
              <a:cxn ang="0">
                <a:pos x="connsiteX1" y="connsiteY1"/>
              </a:cxn>
            </a:cxnLst>
            <a:rect l="l" t="t" r="r" b="b"/>
            <a:pathLst>
              <a:path w="2478136" h="1701128">
                <a:moveTo>
                  <a:pt x="0" y="0"/>
                </a:moveTo>
                <a:lnTo>
                  <a:pt x="2478136" y="1701128"/>
                </a:lnTo>
              </a:path>
            </a:pathLst>
          </a:custGeom>
          <a:noFill/>
          <a:ln w="38100" cap="flat" cmpd="sng" algn="ctr">
            <a:solidFill>
              <a:schemeClr val="accent4"/>
            </a:solidFill>
            <a:prstDash val="solid"/>
            <a:round/>
            <a:headEnd type="triangle" w="med" len="med"/>
            <a:tailEnd type="none" w="med" len="med"/>
          </a:ln>
        </p:spPr>
        <p:txBody>
          <a:bodyPr lIns="5267" tIns="2634" rIns="5267" bIns="263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US" sz="2800">
              <a:solidFill>
                <a:prstClr val="black"/>
              </a:solidFill>
              <a:latin typeface="Trebuchet MS"/>
              <a:ea typeface="Meiryo UI"/>
            </a:endParaRPr>
          </a:p>
        </p:txBody>
      </p:sp>
      <p:sp>
        <p:nvSpPr>
          <p:cNvPr id="346" name="Freeform 519"/>
          <p:cNvSpPr/>
          <p:nvPr/>
        </p:nvSpPr>
        <p:spPr bwMode="auto">
          <a:xfrm>
            <a:off x="7155658" y="3210632"/>
            <a:ext cx="3236642" cy="2575213"/>
          </a:xfrm>
          <a:custGeom>
            <a:avLst/>
            <a:gdLst>
              <a:gd name="connsiteX0" fmla="*/ 2883876 w 4334607"/>
              <a:gd name="connsiteY0" fmla="*/ 0 h 2813538"/>
              <a:gd name="connsiteX1" fmla="*/ 4334607 w 4334607"/>
              <a:gd name="connsiteY1" fmla="*/ 2286000 h 2813538"/>
              <a:gd name="connsiteX2" fmla="*/ 492369 w 4334607"/>
              <a:gd name="connsiteY2" fmla="*/ 2813538 h 2813538"/>
              <a:gd name="connsiteX3" fmla="*/ 0 w 4334607"/>
              <a:gd name="connsiteY3" fmla="*/ 1046285 h 2813538"/>
              <a:gd name="connsiteX0" fmla="*/ 2883876 w 4334607"/>
              <a:gd name="connsiteY0" fmla="*/ 0 h 2813538"/>
              <a:gd name="connsiteX1" fmla="*/ 4334607 w 4334607"/>
              <a:gd name="connsiteY1" fmla="*/ 2286000 h 2813538"/>
              <a:gd name="connsiteX2" fmla="*/ 492369 w 4334607"/>
              <a:gd name="connsiteY2" fmla="*/ 2813538 h 2813538"/>
              <a:gd name="connsiteX3" fmla="*/ 0 w 4334607"/>
              <a:gd name="connsiteY3" fmla="*/ 1046285 h 2813538"/>
              <a:gd name="connsiteX0" fmla="*/ 2883876 w 4337683"/>
              <a:gd name="connsiteY0" fmla="*/ 0 h 2813538"/>
              <a:gd name="connsiteX1" fmla="*/ 4334607 w 4337683"/>
              <a:gd name="connsiteY1" fmla="*/ 2286000 h 2813538"/>
              <a:gd name="connsiteX2" fmla="*/ 492369 w 4337683"/>
              <a:gd name="connsiteY2" fmla="*/ 2813538 h 2813538"/>
              <a:gd name="connsiteX3" fmla="*/ 0 w 4337683"/>
              <a:gd name="connsiteY3" fmla="*/ 1046285 h 2813538"/>
              <a:gd name="connsiteX0" fmla="*/ 2883876 w 4337683"/>
              <a:gd name="connsiteY0" fmla="*/ 0 h 3361082"/>
              <a:gd name="connsiteX1" fmla="*/ 4334607 w 4337683"/>
              <a:gd name="connsiteY1" fmla="*/ 2286000 h 3361082"/>
              <a:gd name="connsiteX2" fmla="*/ 492369 w 4337683"/>
              <a:gd name="connsiteY2" fmla="*/ 2813538 h 3361082"/>
              <a:gd name="connsiteX3" fmla="*/ 0 w 4337683"/>
              <a:gd name="connsiteY3" fmla="*/ 1046285 h 3361082"/>
              <a:gd name="connsiteX0" fmla="*/ 2883876 w 4337683"/>
              <a:gd name="connsiteY0" fmla="*/ 0 h 3570542"/>
              <a:gd name="connsiteX1" fmla="*/ 4334607 w 4337683"/>
              <a:gd name="connsiteY1" fmla="*/ 2286000 h 3570542"/>
              <a:gd name="connsiteX2" fmla="*/ 492369 w 4337683"/>
              <a:gd name="connsiteY2" fmla="*/ 2813538 h 3570542"/>
              <a:gd name="connsiteX3" fmla="*/ 0 w 4337683"/>
              <a:gd name="connsiteY3" fmla="*/ 1046285 h 3570542"/>
              <a:gd name="connsiteX0" fmla="*/ 2883876 w 4337683"/>
              <a:gd name="connsiteY0" fmla="*/ 0 h 3559758"/>
              <a:gd name="connsiteX1" fmla="*/ 4334607 w 4337683"/>
              <a:gd name="connsiteY1" fmla="*/ 2286000 h 3559758"/>
              <a:gd name="connsiteX2" fmla="*/ 492369 w 4337683"/>
              <a:gd name="connsiteY2" fmla="*/ 2813538 h 3559758"/>
              <a:gd name="connsiteX3" fmla="*/ 0 w 4337683"/>
              <a:gd name="connsiteY3" fmla="*/ 1046285 h 3559758"/>
              <a:gd name="connsiteX0" fmla="*/ 2883876 w 4378038"/>
              <a:gd name="connsiteY0" fmla="*/ 0 h 3559758"/>
              <a:gd name="connsiteX1" fmla="*/ 4334607 w 4378038"/>
              <a:gd name="connsiteY1" fmla="*/ 2286000 h 3559758"/>
              <a:gd name="connsiteX2" fmla="*/ 492369 w 4378038"/>
              <a:gd name="connsiteY2" fmla="*/ 2813538 h 3559758"/>
              <a:gd name="connsiteX3" fmla="*/ 0 w 4378038"/>
              <a:gd name="connsiteY3" fmla="*/ 1046285 h 3559758"/>
              <a:gd name="connsiteX0" fmla="*/ 2945379 w 4439541"/>
              <a:gd name="connsiteY0" fmla="*/ 0 h 3559758"/>
              <a:gd name="connsiteX1" fmla="*/ 4396110 w 4439541"/>
              <a:gd name="connsiteY1" fmla="*/ 2286000 h 3559758"/>
              <a:gd name="connsiteX2" fmla="*/ 553872 w 4439541"/>
              <a:gd name="connsiteY2" fmla="*/ 2813538 h 3559758"/>
              <a:gd name="connsiteX3" fmla="*/ 61503 w 4439541"/>
              <a:gd name="connsiteY3" fmla="*/ 1046285 h 3559758"/>
              <a:gd name="connsiteX0" fmla="*/ 2966548 w 4460710"/>
              <a:gd name="connsiteY0" fmla="*/ 0 h 3559758"/>
              <a:gd name="connsiteX1" fmla="*/ 4417279 w 4460710"/>
              <a:gd name="connsiteY1" fmla="*/ 2286000 h 3559758"/>
              <a:gd name="connsiteX2" fmla="*/ 575041 w 4460710"/>
              <a:gd name="connsiteY2" fmla="*/ 2813538 h 3559758"/>
              <a:gd name="connsiteX3" fmla="*/ 82672 w 4460710"/>
              <a:gd name="connsiteY3" fmla="*/ 1046285 h 3559758"/>
              <a:gd name="connsiteX0" fmla="*/ 2908667 w 4402829"/>
              <a:gd name="connsiteY0" fmla="*/ 0 h 3559758"/>
              <a:gd name="connsiteX1" fmla="*/ 4359398 w 4402829"/>
              <a:gd name="connsiteY1" fmla="*/ 2286000 h 3559758"/>
              <a:gd name="connsiteX2" fmla="*/ 517160 w 4402829"/>
              <a:gd name="connsiteY2" fmla="*/ 2813538 h 3559758"/>
              <a:gd name="connsiteX3" fmla="*/ 24791 w 4402829"/>
              <a:gd name="connsiteY3" fmla="*/ 1046285 h 3559758"/>
              <a:gd name="connsiteX0" fmla="*/ 2908667 w 2908667"/>
              <a:gd name="connsiteY0" fmla="*/ 0 h 2813538"/>
              <a:gd name="connsiteX1" fmla="*/ 517160 w 2908667"/>
              <a:gd name="connsiteY1" fmla="*/ 2813538 h 2813538"/>
              <a:gd name="connsiteX2" fmla="*/ 24791 w 2908667"/>
              <a:gd name="connsiteY2" fmla="*/ 1046285 h 2813538"/>
              <a:gd name="connsiteX0" fmla="*/ 2908667 w 4298957"/>
              <a:gd name="connsiteY0" fmla="*/ 0 h 2813538"/>
              <a:gd name="connsiteX1" fmla="*/ 517160 w 4298957"/>
              <a:gd name="connsiteY1" fmla="*/ 2813538 h 2813538"/>
              <a:gd name="connsiteX2" fmla="*/ 24791 w 4298957"/>
              <a:gd name="connsiteY2" fmla="*/ 1046285 h 2813538"/>
              <a:gd name="connsiteX0" fmla="*/ 2908667 w 4501653"/>
              <a:gd name="connsiteY0" fmla="*/ 0 h 3490687"/>
              <a:gd name="connsiteX1" fmla="*/ 517160 w 4501653"/>
              <a:gd name="connsiteY1" fmla="*/ 2813538 h 3490687"/>
              <a:gd name="connsiteX2" fmla="*/ 24791 w 4501653"/>
              <a:gd name="connsiteY2" fmla="*/ 1046285 h 3490687"/>
              <a:gd name="connsiteX0" fmla="*/ 2908667 w 4386328"/>
              <a:gd name="connsiteY0" fmla="*/ 0 h 3505587"/>
              <a:gd name="connsiteX1" fmla="*/ 517160 w 4386328"/>
              <a:gd name="connsiteY1" fmla="*/ 2813538 h 3505587"/>
              <a:gd name="connsiteX2" fmla="*/ 24791 w 4386328"/>
              <a:gd name="connsiteY2" fmla="*/ 1046285 h 3505587"/>
              <a:gd name="connsiteX0" fmla="*/ 2908667 w 4436276"/>
              <a:gd name="connsiteY0" fmla="*/ 0 h 3385527"/>
              <a:gd name="connsiteX1" fmla="*/ 517160 w 4436276"/>
              <a:gd name="connsiteY1" fmla="*/ 2813538 h 3385527"/>
              <a:gd name="connsiteX2" fmla="*/ 24791 w 4436276"/>
              <a:gd name="connsiteY2" fmla="*/ 1046285 h 3385527"/>
              <a:gd name="connsiteX0" fmla="*/ 2908667 w 4464274"/>
              <a:gd name="connsiteY0" fmla="*/ 0 h 3558628"/>
              <a:gd name="connsiteX1" fmla="*/ 517160 w 4464274"/>
              <a:gd name="connsiteY1" fmla="*/ 2813538 h 3558628"/>
              <a:gd name="connsiteX2" fmla="*/ 24791 w 4464274"/>
              <a:gd name="connsiteY2" fmla="*/ 1046285 h 3558628"/>
              <a:gd name="connsiteX0" fmla="*/ 2908667 w 4429573"/>
              <a:gd name="connsiteY0" fmla="*/ 0 h 3562377"/>
              <a:gd name="connsiteX1" fmla="*/ 517160 w 4429573"/>
              <a:gd name="connsiteY1" fmla="*/ 2813538 h 3562377"/>
              <a:gd name="connsiteX2" fmla="*/ 24791 w 4429573"/>
              <a:gd name="connsiteY2" fmla="*/ 1046285 h 3562377"/>
              <a:gd name="connsiteX0" fmla="*/ 2908667 w 4476179"/>
              <a:gd name="connsiteY0" fmla="*/ 0 h 3551222"/>
              <a:gd name="connsiteX1" fmla="*/ 517160 w 4476179"/>
              <a:gd name="connsiteY1" fmla="*/ 2813538 h 3551222"/>
              <a:gd name="connsiteX2" fmla="*/ 24791 w 4476179"/>
              <a:gd name="connsiteY2" fmla="*/ 1046285 h 3551222"/>
              <a:gd name="connsiteX0" fmla="*/ 2908667 w 4390996"/>
              <a:gd name="connsiteY0" fmla="*/ 0 h 3540115"/>
              <a:gd name="connsiteX1" fmla="*/ 517160 w 4390996"/>
              <a:gd name="connsiteY1" fmla="*/ 2813538 h 3540115"/>
              <a:gd name="connsiteX2" fmla="*/ 24791 w 4390996"/>
              <a:gd name="connsiteY2" fmla="*/ 1046285 h 3540115"/>
              <a:gd name="connsiteX0" fmla="*/ 2908667 w 4439410"/>
              <a:gd name="connsiteY0" fmla="*/ 0 h 3529024"/>
              <a:gd name="connsiteX1" fmla="*/ 517160 w 4439410"/>
              <a:gd name="connsiteY1" fmla="*/ 2813538 h 3529024"/>
              <a:gd name="connsiteX2" fmla="*/ 24791 w 4439410"/>
              <a:gd name="connsiteY2" fmla="*/ 1046285 h 3529024"/>
              <a:gd name="connsiteX0" fmla="*/ 2866382 w 4397125"/>
              <a:gd name="connsiteY0" fmla="*/ 0 h 3529024"/>
              <a:gd name="connsiteX1" fmla="*/ 474875 w 4397125"/>
              <a:gd name="connsiteY1" fmla="*/ 2813538 h 3529024"/>
              <a:gd name="connsiteX2" fmla="*/ 28761 w 4397125"/>
              <a:gd name="connsiteY2" fmla="*/ 900913 h 3529024"/>
              <a:gd name="connsiteX0" fmla="*/ 2939248 w 4469991"/>
              <a:gd name="connsiteY0" fmla="*/ 0 h 3529024"/>
              <a:gd name="connsiteX1" fmla="*/ 547741 w 4469991"/>
              <a:gd name="connsiteY1" fmla="*/ 2813538 h 3529024"/>
              <a:gd name="connsiteX2" fmla="*/ 101627 w 4469991"/>
              <a:gd name="connsiteY2" fmla="*/ 900913 h 3529024"/>
              <a:gd name="connsiteX0" fmla="*/ 2939248 w 4499202"/>
              <a:gd name="connsiteY0" fmla="*/ 0 h 3492302"/>
              <a:gd name="connsiteX1" fmla="*/ 547741 w 4499202"/>
              <a:gd name="connsiteY1" fmla="*/ 2813538 h 3492302"/>
              <a:gd name="connsiteX2" fmla="*/ 101627 w 4499202"/>
              <a:gd name="connsiteY2" fmla="*/ 900913 h 3492302"/>
              <a:gd name="connsiteX0" fmla="*/ 2939248 w 4522615"/>
              <a:gd name="connsiteY0" fmla="*/ 0 h 3560741"/>
              <a:gd name="connsiteX1" fmla="*/ 547741 w 4522615"/>
              <a:gd name="connsiteY1" fmla="*/ 2813538 h 3560741"/>
              <a:gd name="connsiteX2" fmla="*/ 101627 w 4522615"/>
              <a:gd name="connsiteY2" fmla="*/ 900913 h 3560741"/>
              <a:gd name="connsiteX0" fmla="*/ 2939248 w 4467031"/>
              <a:gd name="connsiteY0" fmla="*/ 0 h 3559008"/>
              <a:gd name="connsiteX1" fmla="*/ 547741 w 4467031"/>
              <a:gd name="connsiteY1" fmla="*/ 2813538 h 3559008"/>
              <a:gd name="connsiteX2" fmla="*/ 101627 w 4467031"/>
              <a:gd name="connsiteY2" fmla="*/ 900913 h 3559008"/>
              <a:gd name="connsiteX0" fmla="*/ 2891140 w 4429957"/>
              <a:gd name="connsiteY0" fmla="*/ 0 h 3676092"/>
              <a:gd name="connsiteX1" fmla="*/ 547741 w 4429957"/>
              <a:gd name="connsiteY1" fmla="*/ 2949847 h 3676092"/>
              <a:gd name="connsiteX2" fmla="*/ 101627 w 4429957"/>
              <a:gd name="connsiteY2" fmla="*/ 1037222 h 3676092"/>
              <a:gd name="connsiteX0" fmla="*/ 2884996 w 4433116"/>
              <a:gd name="connsiteY0" fmla="*/ 0 h 3655362"/>
              <a:gd name="connsiteX1" fmla="*/ 581688 w 4433116"/>
              <a:gd name="connsiteY1" fmla="*/ 2925792 h 3655362"/>
              <a:gd name="connsiteX2" fmla="*/ 95483 w 4433116"/>
              <a:gd name="connsiteY2" fmla="*/ 1037222 h 3655362"/>
              <a:gd name="connsiteX0" fmla="*/ 2884996 w 4433118"/>
              <a:gd name="connsiteY0" fmla="*/ 0 h 3655360"/>
              <a:gd name="connsiteX1" fmla="*/ 581688 w 4433118"/>
              <a:gd name="connsiteY1" fmla="*/ 2925792 h 3655360"/>
              <a:gd name="connsiteX2" fmla="*/ 95483 w 4433118"/>
              <a:gd name="connsiteY2" fmla="*/ 1037222 h 3655360"/>
              <a:gd name="connsiteX0" fmla="*/ 2884996 w 4484604"/>
              <a:gd name="connsiteY0" fmla="*/ 0 h 3638861"/>
              <a:gd name="connsiteX1" fmla="*/ 581688 w 4484604"/>
              <a:gd name="connsiteY1" fmla="*/ 2925792 h 3638861"/>
              <a:gd name="connsiteX2" fmla="*/ 95483 w 4484604"/>
              <a:gd name="connsiteY2" fmla="*/ 1037222 h 3638861"/>
              <a:gd name="connsiteX0" fmla="*/ 2905677 w 4505283"/>
              <a:gd name="connsiteY0" fmla="*/ 0 h 3638861"/>
              <a:gd name="connsiteX1" fmla="*/ 602369 w 4505283"/>
              <a:gd name="connsiteY1" fmla="*/ 2925792 h 3638861"/>
              <a:gd name="connsiteX2" fmla="*/ 92109 w 4505283"/>
              <a:gd name="connsiteY2" fmla="*/ 1037222 h 3638861"/>
            </a:gdLst>
            <a:ahLst/>
            <a:cxnLst>
              <a:cxn ang="0">
                <a:pos x="connsiteX0" y="connsiteY0"/>
              </a:cxn>
              <a:cxn ang="0">
                <a:pos x="connsiteX1" y="connsiteY1"/>
              </a:cxn>
              <a:cxn ang="0">
                <a:pos x="connsiteX2" y="connsiteY2"/>
              </a:cxn>
            </a:cxnLst>
            <a:rect l="l" t="t" r="r" b="b"/>
            <a:pathLst>
              <a:path w="4505283" h="3638861">
                <a:moveTo>
                  <a:pt x="2905677" y="0"/>
                </a:moveTo>
                <a:cubicBezTo>
                  <a:pt x="6445188" y="1798897"/>
                  <a:pt x="3402412" y="5092180"/>
                  <a:pt x="602369" y="2925792"/>
                </a:cubicBezTo>
                <a:cubicBezTo>
                  <a:pt x="218438" y="2460079"/>
                  <a:pt x="-185946" y="1856712"/>
                  <a:pt x="92109" y="1037222"/>
                </a:cubicBezTo>
              </a:path>
            </a:pathLst>
          </a:custGeom>
          <a:noFill/>
          <a:ln w="31750" algn="ctr">
            <a:solidFill>
              <a:schemeClr val="accent5"/>
            </a:solidFill>
            <a:prstDash val="solid"/>
            <a:round/>
            <a:headEnd type="none"/>
            <a:tailEnd type="triangle"/>
          </a:ln>
        </p:spPr>
        <p:txBody>
          <a:bodyPr lIns="21946" tIns="10973" rIns="21946" bIns="10973"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US" sz="3200">
              <a:solidFill>
                <a:prstClr val="black"/>
              </a:solidFill>
              <a:latin typeface="Trebuchet MS"/>
              <a:ea typeface="Meiryo UI"/>
            </a:endParaRPr>
          </a:p>
        </p:txBody>
      </p:sp>
      <p:grpSp>
        <p:nvGrpSpPr>
          <p:cNvPr id="348" name="Group 309"/>
          <p:cNvGrpSpPr/>
          <p:nvPr/>
        </p:nvGrpSpPr>
        <p:grpSpPr>
          <a:xfrm>
            <a:off x="8962953" y="4071129"/>
            <a:ext cx="406505" cy="252704"/>
            <a:chOff x="5105307" y="3101802"/>
            <a:chExt cx="298746" cy="188527"/>
          </a:xfrm>
        </p:grpSpPr>
        <p:sp>
          <p:nvSpPr>
            <p:cNvPr id="376" name="Oval 518"/>
            <p:cNvSpPr/>
            <p:nvPr/>
          </p:nvSpPr>
          <p:spPr bwMode="auto">
            <a:xfrm>
              <a:off x="5105307" y="3203501"/>
              <a:ext cx="86828" cy="86828"/>
            </a:xfrm>
            <a:prstGeom prst="ellipse">
              <a:avLst/>
            </a:prstGeom>
            <a:solidFill>
              <a:schemeClr val="accent4"/>
            </a:solidFill>
            <a:ln w="9525" algn="ctr">
              <a:noFill/>
              <a:miter lim="800000"/>
              <a:headEnd/>
              <a:tailEnd/>
            </a:ln>
          </p:spPr>
          <p:txBody>
            <a:bodyPr wrap="none" lIns="36000" tIns="10800" rIns="36000" bIns="1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5738" indent="-185738" algn="ctr">
                <a:buClr>
                  <a:srgbClr val="969696"/>
                </a:buClr>
                <a:buSzPct val="80000"/>
                <a:defRPr/>
              </a:pPr>
              <a:endParaRPr kumimoji="0" lang="en-US" dirty="0">
                <a:solidFill>
                  <a:srgbClr val="000000"/>
                </a:solidFill>
                <a:latin typeface="Meiryo UI"/>
                <a:ea typeface="Meiryo UI"/>
              </a:endParaRPr>
            </a:p>
          </p:txBody>
        </p:sp>
        <p:sp>
          <p:nvSpPr>
            <p:cNvPr id="377" name="Oval 521"/>
            <p:cNvSpPr/>
            <p:nvPr/>
          </p:nvSpPr>
          <p:spPr bwMode="auto">
            <a:xfrm>
              <a:off x="5317225" y="3101802"/>
              <a:ext cx="86828" cy="86828"/>
            </a:xfrm>
            <a:prstGeom prst="ellipse">
              <a:avLst/>
            </a:prstGeom>
            <a:solidFill>
              <a:schemeClr val="accent1"/>
            </a:solidFill>
            <a:ln w="9525" algn="ctr">
              <a:noFill/>
              <a:miter lim="800000"/>
              <a:headEnd/>
              <a:tailEnd/>
            </a:ln>
          </p:spPr>
          <p:txBody>
            <a:bodyPr wrap="none" lIns="36000" tIns="10800" rIns="36000" bIns="1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5738" indent="-185738" algn="ctr">
                <a:buClr>
                  <a:srgbClr val="969696"/>
                </a:buClr>
                <a:buSzPct val="80000"/>
                <a:defRPr/>
              </a:pPr>
              <a:endParaRPr kumimoji="0" lang="en-US" dirty="0">
                <a:solidFill>
                  <a:srgbClr val="000000"/>
                </a:solidFill>
                <a:latin typeface="Meiryo UI"/>
                <a:ea typeface="Meiryo UI"/>
              </a:endParaRPr>
            </a:p>
          </p:txBody>
        </p:sp>
      </p:grpSp>
      <p:pic>
        <p:nvPicPr>
          <p:cNvPr id="350" name="Picture 523"/>
          <p:cNvPicPr>
            <a:picLocks noChangeAspect="1"/>
          </p:cNvPicPr>
          <p:nvPr/>
        </p:nvPicPr>
        <p:blipFill>
          <a:blip r:embed="rId6" cstate="print">
            <a:grayscl/>
            <a:extLst>
              <a:ext uri="{28A0092B-C50C-407E-A947-70E740481C1C}">
                <a14:useLocalDpi xmlns:a14="http://schemas.microsoft.com/office/drawing/2010/main" val="0"/>
              </a:ext>
            </a:extLst>
          </a:blip>
          <a:stretch>
            <a:fillRect/>
          </a:stretch>
        </p:blipFill>
        <p:spPr>
          <a:xfrm>
            <a:off x="10061342" y="4445146"/>
            <a:ext cx="284433" cy="281991"/>
          </a:xfrm>
          <a:prstGeom prst="rect">
            <a:avLst/>
          </a:prstGeom>
        </p:spPr>
      </p:pic>
      <p:pic>
        <p:nvPicPr>
          <p:cNvPr id="351" name="Picture 524"/>
          <p:cNvPicPr>
            <a:picLocks noChangeAspect="1"/>
          </p:cNvPicPr>
          <p:nvPr/>
        </p:nvPicPr>
        <p:blipFill>
          <a:blip r:embed="rId6" cstate="print">
            <a:grayscl/>
            <a:extLst>
              <a:ext uri="{28A0092B-C50C-407E-A947-70E740481C1C}">
                <a14:useLocalDpi xmlns:a14="http://schemas.microsoft.com/office/drawing/2010/main" val="0"/>
              </a:ext>
            </a:extLst>
          </a:blip>
          <a:stretch>
            <a:fillRect/>
          </a:stretch>
        </p:blipFill>
        <p:spPr>
          <a:xfrm>
            <a:off x="8847303" y="5427286"/>
            <a:ext cx="314226" cy="311525"/>
          </a:xfrm>
          <a:prstGeom prst="rect">
            <a:avLst/>
          </a:prstGeom>
        </p:spPr>
      </p:pic>
      <p:pic>
        <p:nvPicPr>
          <p:cNvPr id="353" name="Picture 53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rot="20965338" flipH="1">
            <a:off x="8670530" y="2826168"/>
            <a:ext cx="703080" cy="554937"/>
          </a:xfrm>
          <a:prstGeom prst="rect">
            <a:avLst/>
          </a:prstGeom>
        </p:spPr>
      </p:pic>
      <p:pic>
        <p:nvPicPr>
          <p:cNvPr id="355" name="Picture 539"/>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rot="727429" flipH="1">
            <a:off x="8851165" y="3395327"/>
            <a:ext cx="376848" cy="300471"/>
          </a:xfrm>
          <a:prstGeom prst="rect">
            <a:avLst/>
          </a:prstGeom>
        </p:spPr>
      </p:pic>
      <p:pic>
        <p:nvPicPr>
          <p:cNvPr id="356" name="Picture 540"/>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rot="3782838">
            <a:off x="8498893" y="3702939"/>
            <a:ext cx="273156" cy="400095"/>
          </a:xfrm>
          <a:prstGeom prst="rect">
            <a:avLst/>
          </a:prstGeom>
        </p:spPr>
      </p:pic>
      <p:pic>
        <p:nvPicPr>
          <p:cNvPr id="357" name="Picture 541"/>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rot="721642">
            <a:off x="8240589" y="4279231"/>
            <a:ext cx="368714" cy="248516"/>
          </a:xfrm>
          <a:prstGeom prst="rect">
            <a:avLst/>
          </a:prstGeom>
        </p:spPr>
      </p:pic>
      <p:sp>
        <p:nvSpPr>
          <p:cNvPr id="372" name="Rectangle 557"/>
          <p:cNvSpPr/>
          <p:nvPr/>
        </p:nvSpPr>
        <p:spPr bwMode="auto">
          <a:xfrm>
            <a:off x="10462915" y="4032098"/>
            <a:ext cx="605119" cy="308184"/>
          </a:xfrm>
          <a:prstGeom prst="rect">
            <a:avLst/>
          </a:prstGeom>
          <a:noFill/>
          <a:ln w="9525" algn="ctr">
            <a:noFill/>
            <a:miter lim="800000"/>
            <a:headEnd/>
            <a:tailEnd/>
          </a:ln>
          <a:extLst>
            <a:ext uri="{909E8E84-426E-40DD-AFC4-6F175D3DCCD1}">
              <a14:hiddenFill xmlns:a14="http://schemas.microsoft.com/office/drawing/2010/main">
                <a:solidFill>
                  <a:schemeClr val="bg1">
                    <a:lumMod val="95000"/>
                  </a:schemeClr>
                </a:solidFill>
              </a14:hiddenFill>
            </a:ext>
            <a:ext uri="{91240B29-F687-4F45-9708-019B960494DF}">
              <a14:hiddenLine xmlns:a14="http://schemas.microsoft.com/office/drawing/2010/main" w="9525" algn="ctr">
                <a:solidFill>
                  <a:srgbClr val="E2E2E2"/>
                </a:solidFill>
                <a:miter lim="800000"/>
                <a:headEnd/>
                <a:tailEnd/>
              </a14:hiddenLine>
            </a:ext>
          </a:extLst>
        </p:spPr>
        <p:txBody>
          <a:bodyPr wrap="none" lIns="2074" tIns="622" rIns="2074" bIns="622"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0698" indent="-10698">
              <a:buClr>
                <a:srgbClr val="969696"/>
              </a:buClr>
              <a:buSzPct val="80000"/>
              <a:defRPr/>
            </a:pPr>
            <a:r>
              <a:rPr kumimoji="0" lang="ja-JP" altLang="en-US" sz="1000" dirty="0">
                <a:latin typeface="Meiryo UI" panose="020B0604030504040204" pitchFamily="50" charset="-128"/>
                <a:ea typeface="Meiryo UI" panose="020B0604030504040204" pitchFamily="50" charset="-128"/>
              </a:rPr>
              <a:t>タクシー</a:t>
            </a:r>
            <a:endParaRPr kumimoji="0" lang="en-US" altLang="ja-JP" sz="1000" dirty="0">
              <a:latin typeface="Meiryo UI" panose="020B0604030504040204" pitchFamily="50" charset="-128"/>
              <a:ea typeface="Meiryo UI" panose="020B0604030504040204" pitchFamily="50" charset="-128"/>
            </a:endParaRPr>
          </a:p>
        </p:txBody>
      </p:sp>
      <p:pic>
        <p:nvPicPr>
          <p:cNvPr id="373" name="Picture 558"/>
          <p:cNvPicPr>
            <a:picLocks noChangeAspect="1"/>
          </p:cNvPicPr>
          <p:nvPr/>
        </p:nvPicPr>
        <p:blipFill rotWithShape="1">
          <a:blip r:embed="rId18"/>
          <a:srcRect l="4490" r="4490"/>
          <a:stretch/>
        </p:blipFill>
        <p:spPr>
          <a:xfrm>
            <a:off x="9713547" y="3558767"/>
            <a:ext cx="725778" cy="714956"/>
          </a:xfrm>
          <a:prstGeom prst="ellipse">
            <a:avLst/>
          </a:prstGeom>
          <a:grpFill/>
          <a:ln w="38100" cap="flat" cmpd="sng" algn="ctr">
            <a:solidFill>
              <a:schemeClr val="accent6"/>
            </a:solidFill>
            <a:prstDash val="solid"/>
            <a:round/>
            <a:headEnd type="none" w="med" len="med"/>
            <a:tailEnd type="none" w="med" len="med"/>
          </a:ln>
        </p:spPr>
      </p:pic>
      <p:sp>
        <p:nvSpPr>
          <p:cNvPr id="360" name="Rectangle 555"/>
          <p:cNvSpPr/>
          <p:nvPr/>
        </p:nvSpPr>
        <p:spPr bwMode="auto">
          <a:xfrm>
            <a:off x="6437238" y="5361926"/>
            <a:ext cx="973400" cy="184639"/>
          </a:xfrm>
          <a:prstGeom prst="rect">
            <a:avLst/>
          </a:prstGeom>
          <a:noFill/>
          <a:ln w="9525" algn="ctr">
            <a:noFill/>
            <a:miter lim="800000"/>
            <a:headEnd/>
            <a:tailEnd/>
          </a:ln>
          <a:extLst>
            <a:ext uri="{909E8E84-426E-40DD-AFC4-6F175D3DCCD1}">
              <a14:hiddenFill xmlns:a14="http://schemas.microsoft.com/office/drawing/2010/main">
                <a:solidFill>
                  <a:srgbClr val="6E6F73"/>
                </a:solidFill>
              </a14:hiddenFill>
            </a:ext>
            <a:ext uri="{91240B29-F687-4F45-9708-019B960494DF}">
              <a14:hiddenLine xmlns:a14="http://schemas.microsoft.com/office/drawing/2010/main" w="9525" algn="ctr">
                <a:solidFill>
                  <a:srgbClr val="E2E2E2"/>
                </a:solidFill>
                <a:miter lim="800000"/>
                <a:headEnd/>
                <a:tailEnd/>
              </a14:hiddenLine>
            </a:ext>
          </a:extLst>
        </p:spPr>
        <p:txBody>
          <a:bodyPr wrap="none" lIns="5184" tIns="1555" rIns="5184" bIns="1555" rtlCol="0"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Clr>
                <a:srgbClr val="969696"/>
              </a:buClr>
              <a:buSzPct val="80000"/>
              <a:defRPr/>
            </a:pPr>
            <a:r>
              <a:rPr kumimoji="0" lang="ja-JP" altLang="en-US" sz="1000" dirty="0">
                <a:latin typeface="Meiryo UI" panose="020B0604030504040204" pitchFamily="50" charset="-128"/>
                <a:ea typeface="Meiryo UI" panose="020B0604030504040204" pitchFamily="50" charset="-128"/>
              </a:rPr>
              <a:t>オンデマンドバス</a:t>
            </a:r>
            <a:endParaRPr kumimoji="0" lang="en-US" sz="1000" dirty="0">
              <a:latin typeface="Meiryo UI" panose="020B0604030504040204" pitchFamily="50" charset="-128"/>
              <a:ea typeface="Meiryo UI" panose="020B0604030504040204" pitchFamily="50" charset="-128"/>
            </a:endParaRPr>
          </a:p>
        </p:txBody>
      </p:sp>
      <p:pic>
        <p:nvPicPr>
          <p:cNvPr id="361" name="Picture 556"/>
          <p:cNvPicPr>
            <a:picLocks noChangeAspect="1"/>
          </p:cNvPicPr>
          <p:nvPr/>
        </p:nvPicPr>
        <p:blipFill rotWithShape="1">
          <a:blip r:embed="rId19"/>
          <a:srcRect t="556" b="556"/>
          <a:stretch/>
        </p:blipFill>
        <p:spPr>
          <a:xfrm>
            <a:off x="7031178" y="4600074"/>
            <a:ext cx="725778" cy="714956"/>
          </a:xfrm>
          <a:prstGeom prst="ellipse">
            <a:avLst/>
          </a:prstGeom>
          <a:grpFill/>
          <a:ln w="38100">
            <a:solidFill>
              <a:schemeClr val="accent1"/>
            </a:solidFill>
          </a:ln>
        </p:spPr>
      </p:pic>
      <p:sp>
        <p:nvSpPr>
          <p:cNvPr id="368" name="Rectangle 551"/>
          <p:cNvSpPr/>
          <p:nvPr/>
        </p:nvSpPr>
        <p:spPr bwMode="auto">
          <a:xfrm>
            <a:off x="9398027" y="5123514"/>
            <a:ext cx="460745" cy="356447"/>
          </a:xfrm>
          <a:prstGeom prst="rect">
            <a:avLst/>
          </a:prstGeom>
          <a:noFill/>
          <a:ln w="9525" algn="ctr">
            <a:noFill/>
            <a:miter lim="800000"/>
            <a:headEnd/>
            <a:tailEnd/>
          </a:ln>
          <a:extLst>
            <a:ext uri="{909E8E84-426E-40DD-AFC4-6F175D3DCCD1}">
              <a14:hiddenFill xmlns:a14="http://schemas.microsoft.com/office/drawing/2010/main">
                <a:solidFill>
                  <a:schemeClr val="bg1">
                    <a:lumMod val="95000"/>
                  </a:schemeClr>
                </a:solidFill>
              </a14:hiddenFill>
            </a:ext>
            <a:ext uri="{91240B29-F687-4F45-9708-019B960494DF}">
              <a14:hiddenLine xmlns:a14="http://schemas.microsoft.com/office/drawing/2010/main" w="9525" algn="ctr">
                <a:solidFill>
                  <a:srgbClr val="E2E2E2"/>
                </a:solidFill>
                <a:miter lim="800000"/>
                <a:headEnd/>
                <a:tailEnd/>
              </a14:hiddenLine>
            </a:ext>
          </a:extLst>
        </p:spPr>
        <p:txBody>
          <a:bodyPr wrap="none" lIns="2074" tIns="622" rIns="2074" bIns="622" rtlCol="0"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0698" indent="-10698">
              <a:buClr>
                <a:srgbClr val="969696"/>
              </a:buClr>
              <a:buSzPct val="80000"/>
              <a:defRPr/>
            </a:pPr>
            <a:r>
              <a:rPr kumimoji="0" lang="ja-JP" altLang="en-US" sz="1000" dirty="0">
                <a:latin typeface="Meiryo UI" panose="020B0604030504040204" pitchFamily="50" charset="-128"/>
                <a:ea typeface="Meiryo UI" panose="020B0604030504040204" pitchFamily="50" charset="-128"/>
              </a:rPr>
              <a:t>シェア</a:t>
            </a:r>
            <a:endParaRPr kumimoji="0" lang="en-US" altLang="ja-JP" sz="1000" dirty="0">
              <a:latin typeface="Meiryo UI" panose="020B0604030504040204" pitchFamily="50" charset="-128"/>
              <a:ea typeface="Meiryo UI" panose="020B0604030504040204" pitchFamily="50" charset="-128"/>
            </a:endParaRPr>
          </a:p>
          <a:p>
            <a:pPr marL="10698" indent="-10698">
              <a:buClr>
                <a:srgbClr val="969696"/>
              </a:buClr>
              <a:buSzPct val="80000"/>
              <a:defRPr/>
            </a:pPr>
            <a:r>
              <a:rPr kumimoji="0" lang="ja-JP" altLang="en-US" sz="1000" dirty="0">
                <a:latin typeface="Meiryo UI" panose="020B0604030504040204" pitchFamily="50" charset="-128"/>
                <a:ea typeface="Meiryo UI" panose="020B0604030504040204" pitchFamily="50" charset="-128"/>
              </a:rPr>
              <a:t>サイクル</a:t>
            </a:r>
            <a:endParaRPr kumimoji="0" lang="en-US" altLang="ja-JP" sz="1000" dirty="0">
              <a:latin typeface="Meiryo UI" panose="020B0604030504040204" pitchFamily="50" charset="-128"/>
              <a:ea typeface="Meiryo UI" panose="020B0604030504040204" pitchFamily="50" charset="-128"/>
            </a:endParaRPr>
          </a:p>
        </p:txBody>
      </p:sp>
      <p:sp>
        <p:nvSpPr>
          <p:cNvPr id="367" name="Rectangle 3827"/>
          <p:cNvSpPr/>
          <p:nvPr/>
        </p:nvSpPr>
        <p:spPr bwMode="auto">
          <a:xfrm>
            <a:off x="7403102" y="2688473"/>
            <a:ext cx="591448" cy="198578"/>
          </a:xfrm>
          <a:prstGeom prst="rect">
            <a:avLst/>
          </a:prstGeom>
          <a:noFill/>
          <a:ln w="9525" algn="ctr">
            <a:noFill/>
            <a:miter lim="800000"/>
            <a:headEnd/>
            <a:tailEnd/>
          </a:ln>
          <a:effectLst>
            <a:softEdge rad="127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E2E2E2"/>
                </a:solidFill>
                <a:miter lim="800000"/>
                <a:headEnd/>
                <a:tailEnd/>
              </a14:hiddenLine>
            </a:ext>
          </a:extLst>
        </p:spPr>
        <p:txBody>
          <a:bodyPr wrap="none" lIns="36000" tIns="10800" rIns="36000" bIns="108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85738" indent="-185738" algn="ctr">
              <a:buClr>
                <a:srgbClr val="969696"/>
              </a:buClr>
              <a:buSzPct val="80000"/>
              <a:defRPr/>
            </a:pPr>
            <a:r>
              <a:rPr kumimoji="0" lang="ja-JP" altLang="en-US" sz="1000" dirty="0">
                <a:latin typeface="Meiryo UI" panose="020B0604030504040204" pitchFamily="50" charset="-128"/>
                <a:ea typeface="Meiryo UI" panose="020B0604030504040204" pitchFamily="50" charset="-128"/>
              </a:rPr>
              <a:t>地下鉄</a:t>
            </a:r>
            <a:endParaRPr kumimoji="0" lang="en-US" altLang="ja-JP" sz="1000" dirty="0">
              <a:latin typeface="Meiryo UI" panose="020B0604030504040204" pitchFamily="50" charset="-128"/>
              <a:ea typeface="Meiryo UI" panose="020B0604030504040204" pitchFamily="50" charset="-128"/>
            </a:endParaRPr>
          </a:p>
        </p:txBody>
      </p:sp>
      <p:sp>
        <p:nvSpPr>
          <p:cNvPr id="503" name="正方形/長方形 502"/>
          <p:cNvSpPr/>
          <p:nvPr/>
        </p:nvSpPr>
        <p:spPr bwMode="auto">
          <a:xfrm>
            <a:off x="1708573" y="1725450"/>
            <a:ext cx="4242077" cy="462763"/>
          </a:xfrm>
          <a:prstGeom prst="rect">
            <a:avLst/>
          </a:prstGeom>
          <a:noFill/>
          <a:ln w="9525" algn="ctr">
            <a:noFill/>
            <a:miter lim="800000"/>
            <a:headEnd/>
            <a:tailEnd/>
          </a:ln>
        </p:spPr>
        <p:txBody>
          <a:bodyPr wrap="none" lIns="36000" tIns="10800" rIns="36000" bIns="10800" rtlCol="0" anchor="ctr"/>
          <a:lstStyle/>
          <a:p>
            <a:pPr marL="185738" indent="-185738">
              <a:buClr>
                <a:srgbClr val="969696"/>
              </a:buClr>
              <a:buSzPct val="80000"/>
            </a:pPr>
            <a:r>
              <a:rPr kumimoji="0" lang="ja-JP" altLang="en-US" sz="1400" dirty="0">
                <a:latin typeface="Meiryo UI" panose="020B0604030504040204" pitchFamily="50" charset="-128"/>
                <a:ea typeface="Meiryo UI" panose="020B0604030504040204" pitchFamily="50" charset="-128"/>
              </a:rPr>
              <a:t>お客さまに駅・バス停</a:t>
            </a:r>
            <a:r>
              <a:rPr kumimoji="0" lang="ja-JP" altLang="en-US" sz="1400" dirty="0" smtClean="0">
                <a:latin typeface="Meiryo UI" panose="020B0604030504040204" pitchFamily="50" charset="-128"/>
                <a:ea typeface="Meiryo UI" panose="020B0604030504040204" pitchFamily="50" charset="-128"/>
              </a:rPr>
              <a:t>まで来て</a:t>
            </a:r>
            <a:r>
              <a:rPr kumimoji="0" lang="ja-JP" altLang="en-US" sz="1400" dirty="0">
                <a:latin typeface="Meiryo UI" panose="020B0604030504040204" pitchFamily="50" charset="-128"/>
                <a:ea typeface="Meiryo UI" panose="020B0604030504040204" pitchFamily="50" charset="-128"/>
              </a:rPr>
              <a:t>いただく／定時運行</a:t>
            </a:r>
          </a:p>
        </p:txBody>
      </p:sp>
      <p:sp>
        <p:nvSpPr>
          <p:cNvPr id="504" name="正方形/長方形 503"/>
          <p:cNvSpPr/>
          <p:nvPr/>
        </p:nvSpPr>
        <p:spPr bwMode="auto">
          <a:xfrm>
            <a:off x="7233143" y="1820956"/>
            <a:ext cx="4177994" cy="452698"/>
          </a:xfrm>
          <a:prstGeom prst="rect">
            <a:avLst/>
          </a:prstGeom>
          <a:noFill/>
          <a:ln w="9525" algn="ctr">
            <a:noFill/>
            <a:miter lim="800000"/>
            <a:headEnd/>
            <a:tailEnd/>
          </a:ln>
        </p:spPr>
        <p:txBody>
          <a:bodyPr wrap="none" lIns="36000" tIns="10800" rIns="36000" bIns="10800" rtlCol="0" anchor="ctr">
            <a:noAutofit/>
          </a:bodyPr>
          <a:lstStyle/>
          <a:p>
            <a:pPr marL="185738" indent="-185738">
              <a:buClr>
                <a:srgbClr val="969696"/>
              </a:buClr>
              <a:buSzPct val="80000"/>
            </a:pPr>
            <a:r>
              <a:rPr kumimoji="0" lang="ja-JP" altLang="en-US" sz="1300" b="1" dirty="0">
                <a:solidFill>
                  <a:srgbClr val="33328B"/>
                </a:solidFill>
                <a:latin typeface="Meiryo UI" panose="020B0604030504040204" pitchFamily="50" charset="-128"/>
                <a:ea typeface="Meiryo UI" panose="020B0604030504040204" pitchFamily="50" charset="-128"/>
              </a:rPr>
              <a:t>お客さまのニーズに</a:t>
            </a:r>
            <a:r>
              <a:rPr kumimoji="0" lang="ja-JP" altLang="en-US" sz="1300" b="1" dirty="0" smtClean="0">
                <a:solidFill>
                  <a:srgbClr val="33328B"/>
                </a:solidFill>
                <a:latin typeface="Meiryo UI" panose="020B0604030504040204" pitchFamily="50" charset="-128"/>
                <a:ea typeface="Meiryo UI" panose="020B0604030504040204" pitchFamily="50" charset="-128"/>
              </a:rPr>
              <a:t>応じて迎え</a:t>
            </a:r>
            <a:r>
              <a:rPr kumimoji="0" lang="ja-JP" altLang="en-US" sz="1300" b="1" dirty="0">
                <a:solidFill>
                  <a:srgbClr val="33328B"/>
                </a:solidFill>
                <a:latin typeface="Meiryo UI" panose="020B0604030504040204" pitchFamily="50" charset="-128"/>
                <a:ea typeface="Meiryo UI" panose="020B0604030504040204" pitchFamily="50" charset="-128"/>
              </a:rPr>
              <a:t>に</a:t>
            </a:r>
            <a:r>
              <a:rPr kumimoji="0" lang="ja-JP" altLang="en-US" sz="1300" b="1" dirty="0" smtClean="0">
                <a:solidFill>
                  <a:srgbClr val="33328B"/>
                </a:solidFill>
                <a:latin typeface="Meiryo UI" panose="020B0604030504040204" pitchFamily="50" charset="-128"/>
                <a:ea typeface="Meiryo UI" panose="020B0604030504040204" pitchFamily="50" charset="-128"/>
              </a:rPr>
              <a:t>行く／待ち時間のロス改善</a:t>
            </a:r>
            <a:endParaRPr kumimoji="0" lang="en-US" altLang="ja-JP" sz="1300" b="1" dirty="0" smtClean="0">
              <a:solidFill>
                <a:srgbClr val="33328B"/>
              </a:solidFill>
              <a:latin typeface="Meiryo UI" panose="020B0604030504040204" pitchFamily="50" charset="-128"/>
              <a:ea typeface="Meiryo UI" panose="020B0604030504040204" pitchFamily="50" charset="-128"/>
            </a:endParaRPr>
          </a:p>
          <a:p>
            <a:pPr marL="185738" indent="-185738">
              <a:buClr>
                <a:srgbClr val="969696"/>
              </a:buClr>
              <a:buSzPct val="80000"/>
            </a:pPr>
            <a:r>
              <a:rPr lang="ja-JP" altLang="en-US" sz="1300" b="1" dirty="0" smtClean="0">
                <a:solidFill>
                  <a:srgbClr val="33328B"/>
                </a:solidFill>
                <a:latin typeface="Meiryo UI" panose="020B0604030504040204" pitchFamily="50" charset="-128"/>
                <a:ea typeface="Meiryo UI" panose="020B0604030504040204" pitchFamily="50" charset="-128"/>
              </a:rPr>
              <a:t>シームレス</a:t>
            </a:r>
            <a:r>
              <a:rPr lang="ja-JP" altLang="en-US" sz="1300" b="1" dirty="0">
                <a:solidFill>
                  <a:srgbClr val="33328B"/>
                </a:solidFill>
                <a:latin typeface="Meiryo UI" panose="020B0604030504040204" pitchFamily="50" charset="-128"/>
                <a:ea typeface="Meiryo UI" panose="020B0604030504040204" pitchFamily="50" charset="-128"/>
              </a:rPr>
              <a:t>でストレスフリーな移動を実現</a:t>
            </a:r>
            <a:endParaRPr kumimoji="0" lang="ja-JP" altLang="en-US" sz="1300" b="1" dirty="0">
              <a:solidFill>
                <a:srgbClr val="33328B"/>
              </a:solidFill>
              <a:latin typeface="Meiryo UI" panose="020B0604030504040204" pitchFamily="50" charset="-128"/>
              <a:ea typeface="Meiryo UI" panose="020B0604030504040204" pitchFamily="50" charset="-128"/>
            </a:endParaRPr>
          </a:p>
        </p:txBody>
      </p:sp>
      <p:pic>
        <p:nvPicPr>
          <p:cNvPr id="352" name="Picture 52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901897" y="3079628"/>
            <a:ext cx="304535" cy="301916"/>
          </a:xfrm>
          <a:prstGeom prst="rect">
            <a:avLst/>
          </a:prstGeom>
        </p:spPr>
      </p:pic>
      <p:sp>
        <p:nvSpPr>
          <p:cNvPr id="267" name="円/楕円 266"/>
          <p:cNvSpPr/>
          <p:nvPr/>
        </p:nvSpPr>
        <p:spPr bwMode="grayWhite">
          <a:xfrm>
            <a:off x="820233" y="1819247"/>
            <a:ext cx="832554" cy="832554"/>
          </a:xfrm>
          <a:prstGeom prst="ellipse">
            <a:avLst/>
          </a:prstGeom>
          <a:solidFill>
            <a:schemeClr val="tx1">
              <a:lumMod val="65000"/>
              <a:lumOff val="35000"/>
            </a:schemeClr>
          </a:solidFill>
          <a:ln>
            <a:noFill/>
          </a:ln>
          <a:effectLst>
            <a:glow rad="88900">
              <a:schemeClr val="bg1">
                <a:alpha val="86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bg1"/>
              </a:solidFill>
              <a:latin typeface="Meiryo UI" panose="020B0604030504040204" pitchFamily="50" charset="-128"/>
              <a:ea typeface="Meiryo UI" panose="020B0604030504040204" pitchFamily="50" charset="-128"/>
            </a:endParaRPr>
          </a:p>
        </p:txBody>
      </p:sp>
      <p:sp>
        <p:nvSpPr>
          <p:cNvPr id="268" name="テキスト ボックス 267"/>
          <p:cNvSpPr txBox="1"/>
          <p:nvPr/>
        </p:nvSpPr>
        <p:spPr>
          <a:xfrm>
            <a:off x="779494" y="2050858"/>
            <a:ext cx="914033" cy="369332"/>
          </a:xfrm>
          <a:prstGeom prst="rect">
            <a:avLst/>
          </a:prstGeom>
          <a:noFill/>
        </p:spPr>
        <p:txBody>
          <a:bodyPr wrap="none" rtlCol="0">
            <a:spAutoFit/>
          </a:bodyPr>
          <a:lstStyle/>
          <a:p>
            <a:pPr algn="ctr"/>
            <a:r>
              <a:rPr lang="ja-JP" altLang="en-US" dirty="0" smtClean="0">
                <a:solidFill>
                  <a:schemeClr val="bg1"/>
                </a:solidFill>
                <a:latin typeface="Meiryo UI" panose="020B0604030504040204" pitchFamily="50" charset="-128"/>
                <a:ea typeface="Meiryo UI" panose="020B0604030504040204" pitchFamily="50" charset="-128"/>
              </a:rPr>
              <a:t>これまで</a:t>
            </a:r>
            <a:endParaRPr kumimoji="1" lang="ja-JP" altLang="en-US" dirty="0">
              <a:solidFill>
                <a:schemeClr val="bg1"/>
              </a:solidFill>
              <a:latin typeface="Meiryo UI" panose="020B0604030504040204" pitchFamily="50" charset="-128"/>
              <a:ea typeface="Meiryo UI" panose="020B0604030504040204" pitchFamily="50" charset="-128"/>
            </a:endParaRPr>
          </a:p>
        </p:txBody>
      </p:sp>
      <p:sp>
        <p:nvSpPr>
          <p:cNvPr id="269" name="円/楕円 268"/>
          <p:cNvSpPr/>
          <p:nvPr/>
        </p:nvSpPr>
        <p:spPr bwMode="grayWhite">
          <a:xfrm>
            <a:off x="6344204" y="1819247"/>
            <a:ext cx="832554" cy="832554"/>
          </a:xfrm>
          <a:prstGeom prst="ellipse">
            <a:avLst/>
          </a:prstGeom>
          <a:solidFill>
            <a:srgbClr val="33328B"/>
          </a:solidFill>
          <a:ln>
            <a:noFill/>
          </a:ln>
          <a:effectLst>
            <a:glow rad="88900">
              <a:schemeClr val="bg1">
                <a:alpha val="86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bg1"/>
              </a:solidFill>
              <a:latin typeface="Meiryo UI" panose="020B0604030504040204" pitchFamily="50" charset="-128"/>
              <a:ea typeface="Meiryo UI" panose="020B0604030504040204" pitchFamily="50" charset="-128"/>
            </a:endParaRPr>
          </a:p>
        </p:txBody>
      </p:sp>
      <p:sp>
        <p:nvSpPr>
          <p:cNvPr id="270" name="テキスト ボックス 269"/>
          <p:cNvSpPr txBox="1"/>
          <p:nvPr/>
        </p:nvSpPr>
        <p:spPr>
          <a:xfrm>
            <a:off x="6310679" y="2050858"/>
            <a:ext cx="899605" cy="369332"/>
          </a:xfrm>
          <a:prstGeom prst="rect">
            <a:avLst/>
          </a:prstGeom>
          <a:noFill/>
        </p:spPr>
        <p:txBody>
          <a:bodyPr wrap="none" rtlCol="0">
            <a:spAutoFit/>
          </a:bodyPr>
          <a:lstStyle/>
          <a:p>
            <a:r>
              <a:rPr lang="ja-JP" altLang="en-US" dirty="0" smtClean="0">
                <a:solidFill>
                  <a:schemeClr val="bg1"/>
                </a:solidFill>
                <a:latin typeface="Meiryo UI" panose="020B0604030504040204" pitchFamily="50" charset="-128"/>
                <a:ea typeface="Meiryo UI" panose="020B0604030504040204" pitchFamily="50" charset="-128"/>
              </a:rPr>
              <a:t>これから</a:t>
            </a:r>
            <a:endParaRPr kumimoji="1" lang="ja-JP" altLang="en-US" dirty="0">
              <a:solidFill>
                <a:schemeClr val="bg1"/>
              </a:solidFill>
              <a:latin typeface="Meiryo UI" panose="020B0604030504040204" pitchFamily="50" charset="-128"/>
              <a:ea typeface="Meiryo UI" panose="020B0604030504040204" pitchFamily="50" charset="-128"/>
            </a:endParaRPr>
          </a:p>
        </p:txBody>
      </p:sp>
      <p:sp>
        <p:nvSpPr>
          <p:cNvPr id="292" name="フリーフォーム 291"/>
          <p:cNvSpPr/>
          <p:nvPr/>
        </p:nvSpPr>
        <p:spPr>
          <a:xfrm rot="18632545">
            <a:off x="4340970" y="4723393"/>
            <a:ext cx="940597" cy="1418760"/>
          </a:xfrm>
          <a:custGeom>
            <a:avLst/>
            <a:gdLst>
              <a:gd name="connsiteX0" fmla="*/ 141518 w 886888"/>
              <a:gd name="connsiteY0" fmla="*/ 0 h 1337747"/>
              <a:gd name="connsiteX1" fmla="*/ 250944 w 886888"/>
              <a:gd name="connsiteY1" fmla="*/ 372711 h 1337747"/>
              <a:gd name="connsiteX2" fmla="*/ 326206 w 886888"/>
              <a:gd name="connsiteY2" fmla="*/ 398470 h 1337747"/>
              <a:gd name="connsiteX3" fmla="*/ 662894 w 886888"/>
              <a:gd name="connsiteY3" fmla="*/ 661967 h 1337747"/>
              <a:gd name="connsiteX4" fmla="*/ 828693 w 886888"/>
              <a:gd name="connsiteY4" fmla="*/ 1300070 h 1337747"/>
              <a:gd name="connsiteX5" fmla="*/ 223993 w 886888"/>
              <a:gd name="connsiteY5" fmla="*/ 1037386 h 1337747"/>
              <a:gd name="connsiteX6" fmla="*/ 58195 w 886888"/>
              <a:gd name="connsiteY6" fmla="*/ 399284 h 1337747"/>
              <a:gd name="connsiteX7" fmla="*/ 110248 w 886888"/>
              <a:gd name="connsiteY7" fmla="*/ 370604 h 1337747"/>
              <a:gd name="connsiteX8" fmla="*/ 141518 w 886888"/>
              <a:gd name="connsiteY8" fmla="*/ 366186 h 1337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6888" h="1337747">
                <a:moveTo>
                  <a:pt x="141518" y="0"/>
                </a:moveTo>
                <a:lnTo>
                  <a:pt x="250944" y="372711"/>
                </a:lnTo>
                <a:lnTo>
                  <a:pt x="326206" y="398470"/>
                </a:lnTo>
                <a:cubicBezTo>
                  <a:pt x="435635" y="446007"/>
                  <a:pt x="556511" y="537595"/>
                  <a:pt x="662894" y="661967"/>
                </a:cubicBezTo>
                <a:cubicBezTo>
                  <a:pt x="875662" y="910713"/>
                  <a:pt x="949892" y="1196401"/>
                  <a:pt x="828693" y="1300070"/>
                </a:cubicBezTo>
                <a:cubicBezTo>
                  <a:pt x="707494" y="1403739"/>
                  <a:pt x="436761" y="1286132"/>
                  <a:pt x="223993" y="1037386"/>
                </a:cubicBezTo>
                <a:cubicBezTo>
                  <a:pt x="11226" y="788641"/>
                  <a:pt x="-63004" y="502953"/>
                  <a:pt x="58195" y="399284"/>
                </a:cubicBezTo>
                <a:cubicBezTo>
                  <a:pt x="73345" y="386325"/>
                  <a:pt x="90831" y="376824"/>
                  <a:pt x="110248" y="370604"/>
                </a:cubicBezTo>
                <a:lnTo>
                  <a:pt x="141518" y="366186"/>
                </a:lnTo>
                <a:close/>
              </a:path>
            </a:pathLst>
          </a:custGeom>
          <a:solidFill>
            <a:srgbClr val="E9B9B9"/>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Rectangle 245"/>
          <p:cNvSpPr/>
          <p:nvPr/>
        </p:nvSpPr>
        <p:spPr bwMode="auto">
          <a:xfrm>
            <a:off x="4488851" y="5373374"/>
            <a:ext cx="861261" cy="370579"/>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E71C57"/>
                </a:solidFill>
                <a:prstDash val="solid"/>
                <a:miter lim="800000"/>
                <a:headEnd type="none" w="med" len="med"/>
                <a:tailEnd type="none" w="med" len="med"/>
              </a14:hiddenLine>
            </a:ext>
          </a:extLst>
        </p:spPr>
        <p:txBody>
          <a:bodyPr wrap="none" lIns="36000" tIns="10800" rIns="36000" bIns="10800" rtlCol="0" anchor="ctr"/>
          <a:lstStyle/>
          <a:p>
            <a:pPr>
              <a:buClr>
                <a:srgbClr val="969696"/>
              </a:buClr>
              <a:buSzPct val="80000"/>
              <a:defRPr/>
            </a:pPr>
            <a:r>
              <a:rPr kumimoji="0" lang="ja-JP" altLang="en-US" sz="900" dirty="0">
                <a:latin typeface="Trebuchet MS"/>
                <a:ea typeface="Meiryo UI"/>
              </a:rPr>
              <a:t>大阪市内で比較的</a:t>
            </a:r>
            <a:endParaRPr kumimoji="0" lang="en-US" altLang="ja-JP" sz="900" dirty="0">
              <a:latin typeface="Trebuchet MS"/>
              <a:ea typeface="Meiryo UI"/>
            </a:endParaRPr>
          </a:p>
          <a:p>
            <a:pPr>
              <a:buClr>
                <a:srgbClr val="969696"/>
              </a:buClr>
              <a:buSzPct val="80000"/>
              <a:defRPr/>
            </a:pPr>
            <a:r>
              <a:rPr kumimoji="0" lang="ja-JP" altLang="en-US" sz="900" dirty="0">
                <a:latin typeface="Trebuchet MS"/>
                <a:ea typeface="Meiryo UI"/>
              </a:rPr>
              <a:t>公共交通が利用</a:t>
            </a:r>
            <a:r>
              <a:rPr kumimoji="0" lang="en-US" altLang="ja-JP" sz="900" dirty="0">
                <a:latin typeface="Trebuchet MS"/>
                <a:ea typeface="Meiryo UI"/>
              </a:rPr>
              <a:t/>
            </a:r>
            <a:br>
              <a:rPr kumimoji="0" lang="en-US" altLang="ja-JP" sz="900" dirty="0">
                <a:latin typeface="Trebuchet MS"/>
                <a:ea typeface="Meiryo UI"/>
              </a:rPr>
            </a:br>
            <a:r>
              <a:rPr kumimoji="0" lang="ja-JP" altLang="en-US" sz="900" dirty="0">
                <a:latin typeface="Trebuchet MS"/>
                <a:ea typeface="Meiryo UI"/>
              </a:rPr>
              <a:t>しづらいエリア</a:t>
            </a:r>
            <a:endParaRPr kumimoji="0" lang="en-US" sz="900" dirty="0">
              <a:latin typeface="Trebuchet MS"/>
              <a:ea typeface="Meiryo UI"/>
            </a:endParaRPr>
          </a:p>
        </p:txBody>
      </p:sp>
      <p:sp>
        <p:nvSpPr>
          <p:cNvPr id="298" name="フリーフォーム 297"/>
          <p:cNvSpPr/>
          <p:nvPr/>
        </p:nvSpPr>
        <p:spPr bwMode="auto">
          <a:xfrm>
            <a:off x="3336326" y="3854819"/>
            <a:ext cx="464593" cy="311232"/>
          </a:xfrm>
          <a:custGeom>
            <a:avLst/>
            <a:gdLst>
              <a:gd name="connsiteX0" fmla="*/ 232297 w 464593"/>
              <a:gd name="connsiteY0" fmla="*/ 0 h 311232"/>
              <a:gd name="connsiteX1" fmla="*/ 267299 w 464593"/>
              <a:gd name="connsiteY1" fmla="*/ 120544 h 311232"/>
              <a:gd name="connsiteX2" fmla="*/ 432811 w 464593"/>
              <a:gd name="connsiteY2" fmla="*/ 120544 h 311232"/>
              <a:gd name="connsiteX3" fmla="*/ 464593 w 464593"/>
              <a:gd name="connsiteY3" fmla="*/ 152326 h 311232"/>
              <a:gd name="connsiteX4" fmla="*/ 464593 w 464593"/>
              <a:gd name="connsiteY4" fmla="*/ 279450 h 311232"/>
              <a:gd name="connsiteX5" fmla="*/ 432811 w 464593"/>
              <a:gd name="connsiteY5" fmla="*/ 311232 h 311232"/>
              <a:gd name="connsiteX6" fmla="*/ 31782 w 464593"/>
              <a:gd name="connsiteY6" fmla="*/ 311232 h 311232"/>
              <a:gd name="connsiteX7" fmla="*/ 0 w 464593"/>
              <a:gd name="connsiteY7" fmla="*/ 279450 h 311232"/>
              <a:gd name="connsiteX8" fmla="*/ 0 w 464593"/>
              <a:gd name="connsiteY8" fmla="*/ 152326 h 311232"/>
              <a:gd name="connsiteX9" fmla="*/ 31782 w 464593"/>
              <a:gd name="connsiteY9" fmla="*/ 120544 h 311232"/>
              <a:gd name="connsiteX10" fmla="*/ 197294 w 464593"/>
              <a:gd name="connsiteY10" fmla="*/ 120544 h 311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4593" h="311232">
                <a:moveTo>
                  <a:pt x="232297" y="0"/>
                </a:moveTo>
                <a:lnTo>
                  <a:pt x="267299" y="120544"/>
                </a:lnTo>
                <a:lnTo>
                  <a:pt x="432811" y="120544"/>
                </a:lnTo>
                <a:cubicBezTo>
                  <a:pt x="450364" y="120544"/>
                  <a:pt x="464593" y="134773"/>
                  <a:pt x="464593" y="152326"/>
                </a:cubicBezTo>
                <a:lnTo>
                  <a:pt x="464593" y="279450"/>
                </a:lnTo>
                <a:cubicBezTo>
                  <a:pt x="464593" y="297003"/>
                  <a:pt x="450364" y="311232"/>
                  <a:pt x="432811" y="311232"/>
                </a:cubicBezTo>
                <a:lnTo>
                  <a:pt x="31782" y="311232"/>
                </a:lnTo>
                <a:cubicBezTo>
                  <a:pt x="14229" y="311232"/>
                  <a:pt x="0" y="297003"/>
                  <a:pt x="0" y="279450"/>
                </a:cubicBezTo>
                <a:lnTo>
                  <a:pt x="0" y="152326"/>
                </a:lnTo>
                <a:cubicBezTo>
                  <a:pt x="0" y="134773"/>
                  <a:pt x="14229" y="120544"/>
                  <a:pt x="31782" y="120544"/>
                </a:cubicBezTo>
                <a:lnTo>
                  <a:pt x="197294" y="120544"/>
                </a:lnTo>
                <a:close/>
              </a:path>
            </a:pathLst>
          </a:custGeom>
          <a:solidFill>
            <a:schemeClr val="tx2"/>
          </a:solidFill>
          <a:ln w="9525" algn="ctr">
            <a:solidFill>
              <a:schemeClr val="bg1"/>
            </a:solidFill>
            <a:miter lim="800000"/>
            <a:headEnd/>
            <a:tailEnd/>
          </a:ln>
        </p:spPr>
        <p:txBody>
          <a:bodyPr wrap="square" lIns="6480" tIns="126000" rIns="6480" bIns="1944" rtlCol="0" anchor="ctr">
            <a:noAutofit/>
          </a:bodyPr>
          <a:lstStyle/>
          <a:p>
            <a:pPr marL="33433" indent="-33433" algn="ctr">
              <a:buClr>
                <a:srgbClr val="969696"/>
              </a:buClr>
              <a:buSzPct val="80000"/>
              <a:defRPr/>
            </a:pPr>
            <a:endParaRPr kumimoji="0" lang="en-US" sz="900" dirty="0">
              <a:solidFill>
                <a:srgbClr val="FFFFFF"/>
              </a:solidFill>
              <a:latin typeface="Meiryo UI"/>
              <a:ea typeface="Meiryo UI"/>
            </a:endParaRPr>
          </a:p>
        </p:txBody>
      </p:sp>
      <p:sp>
        <p:nvSpPr>
          <p:cNvPr id="38" name="Rectangular Callout 379"/>
          <p:cNvSpPr/>
          <p:nvPr/>
        </p:nvSpPr>
        <p:spPr bwMode="auto">
          <a:xfrm>
            <a:off x="3379751" y="3994673"/>
            <a:ext cx="357327" cy="151849"/>
          </a:xfrm>
          <a:prstGeom prst="rect">
            <a:avLst/>
          </a:prstGeom>
          <a:noFill/>
          <a:ln w="9525" algn="ctr">
            <a:noFill/>
            <a:miter lim="800000"/>
            <a:headEnd/>
            <a:tailEnd/>
          </a:ln>
        </p:spPr>
        <p:txBody>
          <a:bodyPr wrap="none" lIns="6480" tIns="1944" rIns="6480" bIns="1944" rtlCol="0" anchor="ctr"/>
          <a:lstStyle/>
          <a:p>
            <a:pPr marL="33433" indent="-33433" algn="ctr">
              <a:buClr>
                <a:srgbClr val="969696"/>
              </a:buClr>
              <a:buSzPct val="80000"/>
              <a:defRPr/>
            </a:pPr>
            <a:r>
              <a:rPr kumimoji="0" lang="ja-JP" altLang="en-US" sz="900" dirty="0">
                <a:solidFill>
                  <a:srgbClr val="FFFFFF"/>
                </a:solidFill>
                <a:latin typeface="Meiryo UI"/>
                <a:ea typeface="Meiryo UI"/>
              </a:rPr>
              <a:t>自宅</a:t>
            </a:r>
            <a:endParaRPr kumimoji="0" lang="en-US" sz="900" dirty="0">
              <a:solidFill>
                <a:srgbClr val="FFFFFF"/>
              </a:solidFill>
              <a:latin typeface="Meiryo UI"/>
              <a:ea typeface="Meiryo UI"/>
            </a:endParaRPr>
          </a:p>
        </p:txBody>
      </p:sp>
      <p:grpSp>
        <p:nvGrpSpPr>
          <p:cNvPr id="148" name="グループ化 147"/>
          <p:cNvGrpSpPr/>
          <p:nvPr/>
        </p:nvGrpSpPr>
        <p:grpSpPr>
          <a:xfrm>
            <a:off x="3167300" y="3289393"/>
            <a:ext cx="296930" cy="521474"/>
            <a:chOff x="3367325" y="3203668"/>
            <a:chExt cx="296930" cy="521474"/>
          </a:xfrm>
        </p:grpSpPr>
        <p:cxnSp>
          <p:nvCxnSpPr>
            <p:cNvPr id="138" name="直線コネクタ 137"/>
            <p:cNvCxnSpPr/>
            <p:nvPr/>
          </p:nvCxnSpPr>
          <p:spPr>
            <a:xfrm flipH="1" flipV="1">
              <a:off x="3371312" y="3593214"/>
              <a:ext cx="199122" cy="131928"/>
            </a:xfrm>
            <a:prstGeom prst="line">
              <a:avLst/>
            </a:prstGeom>
            <a:ln w="285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00" name="直線コネクタ 299"/>
            <p:cNvCxnSpPr/>
            <p:nvPr/>
          </p:nvCxnSpPr>
          <p:spPr>
            <a:xfrm flipV="1">
              <a:off x="3367325" y="3304643"/>
              <a:ext cx="291471" cy="294941"/>
            </a:xfrm>
            <a:prstGeom prst="line">
              <a:avLst/>
            </a:prstGeom>
            <a:ln w="285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04" name="直線コネクタ 303"/>
            <p:cNvCxnSpPr/>
            <p:nvPr/>
          </p:nvCxnSpPr>
          <p:spPr>
            <a:xfrm flipH="1" flipV="1">
              <a:off x="3486949" y="3203668"/>
              <a:ext cx="177306" cy="111832"/>
            </a:xfrm>
            <a:prstGeom prst="line">
              <a:avLst/>
            </a:prstGeom>
            <a:ln w="2857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pic>
        <p:nvPicPr>
          <p:cNvPr id="311" name="Picture 418"/>
          <p:cNvPicPr>
            <a:picLocks noChangeAspect="1"/>
          </p:cNvPicPr>
          <p:nvPr/>
        </p:nvPicPr>
        <p:blipFill>
          <a:blip r:embed="rId5"/>
          <a:stretch>
            <a:fillRect/>
          </a:stretch>
        </p:blipFill>
        <p:spPr>
          <a:xfrm>
            <a:off x="9298817" y="3774395"/>
            <a:ext cx="258229" cy="230501"/>
          </a:xfrm>
          <a:prstGeom prst="rect">
            <a:avLst/>
          </a:prstGeom>
        </p:spPr>
      </p:pic>
      <p:cxnSp>
        <p:nvCxnSpPr>
          <p:cNvPr id="313" name="Straight Connector 595"/>
          <p:cNvCxnSpPr/>
          <p:nvPr/>
        </p:nvCxnSpPr>
        <p:spPr>
          <a:xfrm>
            <a:off x="7272872" y="3289473"/>
            <a:ext cx="3152455" cy="2067787"/>
          </a:xfrm>
          <a:prstGeom prst="line">
            <a:avLst/>
          </a:prstGeom>
          <a:ln w="19050" cap="flat" cmpd="sng" algn="ctr">
            <a:solidFill>
              <a:schemeClr val="tx1">
                <a:lumMod val="65000"/>
                <a:lumOff val="3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365" name="Picture 653"/>
          <p:cNvPicPr>
            <a:picLocks noChangeAspect="1"/>
          </p:cNvPicPr>
          <p:nvPr/>
        </p:nvPicPr>
        <p:blipFill>
          <a:blip r:embed="rId4"/>
          <a:stretch>
            <a:fillRect/>
          </a:stretch>
        </p:blipFill>
        <p:spPr>
          <a:xfrm rot="368572">
            <a:off x="9056826" y="4458903"/>
            <a:ext cx="808724" cy="549373"/>
          </a:xfrm>
          <a:prstGeom prst="rect">
            <a:avLst/>
          </a:prstGeom>
        </p:spPr>
      </p:pic>
      <p:sp>
        <p:nvSpPr>
          <p:cNvPr id="314" name="フリーフォーム 313"/>
          <p:cNvSpPr/>
          <p:nvPr/>
        </p:nvSpPr>
        <p:spPr bwMode="auto">
          <a:xfrm>
            <a:off x="1583046" y="3881546"/>
            <a:ext cx="464593" cy="311232"/>
          </a:xfrm>
          <a:custGeom>
            <a:avLst/>
            <a:gdLst>
              <a:gd name="connsiteX0" fmla="*/ 232297 w 464593"/>
              <a:gd name="connsiteY0" fmla="*/ 0 h 311232"/>
              <a:gd name="connsiteX1" fmla="*/ 267299 w 464593"/>
              <a:gd name="connsiteY1" fmla="*/ 120544 h 311232"/>
              <a:gd name="connsiteX2" fmla="*/ 432811 w 464593"/>
              <a:gd name="connsiteY2" fmla="*/ 120544 h 311232"/>
              <a:gd name="connsiteX3" fmla="*/ 464593 w 464593"/>
              <a:gd name="connsiteY3" fmla="*/ 152326 h 311232"/>
              <a:gd name="connsiteX4" fmla="*/ 464593 w 464593"/>
              <a:gd name="connsiteY4" fmla="*/ 279450 h 311232"/>
              <a:gd name="connsiteX5" fmla="*/ 432811 w 464593"/>
              <a:gd name="connsiteY5" fmla="*/ 311232 h 311232"/>
              <a:gd name="connsiteX6" fmla="*/ 31782 w 464593"/>
              <a:gd name="connsiteY6" fmla="*/ 311232 h 311232"/>
              <a:gd name="connsiteX7" fmla="*/ 0 w 464593"/>
              <a:gd name="connsiteY7" fmla="*/ 279450 h 311232"/>
              <a:gd name="connsiteX8" fmla="*/ 0 w 464593"/>
              <a:gd name="connsiteY8" fmla="*/ 152326 h 311232"/>
              <a:gd name="connsiteX9" fmla="*/ 31782 w 464593"/>
              <a:gd name="connsiteY9" fmla="*/ 120544 h 311232"/>
              <a:gd name="connsiteX10" fmla="*/ 197294 w 464593"/>
              <a:gd name="connsiteY10" fmla="*/ 120544 h 311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4593" h="311232">
                <a:moveTo>
                  <a:pt x="232297" y="0"/>
                </a:moveTo>
                <a:lnTo>
                  <a:pt x="267299" y="120544"/>
                </a:lnTo>
                <a:lnTo>
                  <a:pt x="432811" y="120544"/>
                </a:lnTo>
                <a:cubicBezTo>
                  <a:pt x="450364" y="120544"/>
                  <a:pt x="464593" y="134773"/>
                  <a:pt x="464593" y="152326"/>
                </a:cubicBezTo>
                <a:lnTo>
                  <a:pt x="464593" y="279450"/>
                </a:lnTo>
                <a:cubicBezTo>
                  <a:pt x="464593" y="297003"/>
                  <a:pt x="450364" y="311232"/>
                  <a:pt x="432811" y="311232"/>
                </a:cubicBezTo>
                <a:lnTo>
                  <a:pt x="31782" y="311232"/>
                </a:lnTo>
                <a:cubicBezTo>
                  <a:pt x="14229" y="311232"/>
                  <a:pt x="0" y="297003"/>
                  <a:pt x="0" y="279450"/>
                </a:cubicBezTo>
                <a:lnTo>
                  <a:pt x="0" y="152326"/>
                </a:lnTo>
                <a:cubicBezTo>
                  <a:pt x="0" y="134773"/>
                  <a:pt x="14229" y="120544"/>
                  <a:pt x="31782" y="120544"/>
                </a:cubicBezTo>
                <a:lnTo>
                  <a:pt x="197294" y="120544"/>
                </a:lnTo>
                <a:close/>
              </a:path>
            </a:pathLst>
          </a:custGeom>
          <a:solidFill>
            <a:srgbClr val="C00000"/>
          </a:solidFill>
          <a:ln w="9525" algn="ctr">
            <a:solidFill>
              <a:schemeClr val="bg1"/>
            </a:solidFill>
            <a:miter lim="800000"/>
            <a:headEnd/>
            <a:tailEnd/>
          </a:ln>
        </p:spPr>
        <p:txBody>
          <a:bodyPr wrap="square" lIns="6480" tIns="126000" rIns="6480" bIns="1944" rtlCol="0" anchor="ctr">
            <a:noAutofit/>
          </a:bodyPr>
          <a:lstStyle/>
          <a:p>
            <a:pPr marL="33433" indent="-33433" algn="ctr">
              <a:buClr>
                <a:srgbClr val="969696"/>
              </a:buClr>
              <a:buSzPct val="80000"/>
              <a:defRPr/>
            </a:pPr>
            <a:endParaRPr kumimoji="0" lang="en-US" sz="900" dirty="0">
              <a:solidFill>
                <a:srgbClr val="FFFFFF"/>
              </a:solidFill>
              <a:latin typeface="Meiryo UI"/>
              <a:ea typeface="Meiryo UI"/>
            </a:endParaRPr>
          </a:p>
        </p:txBody>
      </p:sp>
      <p:sp>
        <p:nvSpPr>
          <p:cNvPr id="315" name="Rectangular Callout 379"/>
          <p:cNvSpPr/>
          <p:nvPr/>
        </p:nvSpPr>
        <p:spPr bwMode="auto">
          <a:xfrm>
            <a:off x="1629017" y="4021383"/>
            <a:ext cx="357327" cy="151849"/>
          </a:xfrm>
          <a:prstGeom prst="rect">
            <a:avLst/>
          </a:prstGeom>
          <a:noFill/>
          <a:ln w="9525" algn="ctr">
            <a:noFill/>
            <a:miter lim="800000"/>
            <a:headEnd/>
            <a:tailEnd/>
          </a:ln>
        </p:spPr>
        <p:txBody>
          <a:bodyPr wrap="none" lIns="6480" tIns="1944" rIns="6480" bIns="1944" rtlCol="0" anchor="ctr"/>
          <a:lstStyle/>
          <a:p>
            <a:pPr marL="33433" indent="-33433" algn="ctr">
              <a:buClr>
                <a:srgbClr val="969696"/>
              </a:buClr>
              <a:buSzPct val="80000"/>
              <a:defRPr/>
            </a:pPr>
            <a:r>
              <a:rPr kumimoji="0" lang="ja-JP" altLang="en-US" sz="900" dirty="0" smtClean="0">
                <a:solidFill>
                  <a:srgbClr val="FFFFFF"/>
                </a:solidFill>
                <a:latin typeface="Meiryo UI"/>
                <a:ea typeface="Meiryo UI"/>
              </a:rPr>
              <a:t>目的地</a:t>
            </a:r>
            <a:endParaRPr kumimoji="0" lang="en-US" sz="900" dirty="0">
              <a:solidFill>
                <a:srgbClr val="FFFFFF"/>
              </a:solidFill>
              <a:latin typeface="Meiryo UI"/>
              <a:ea typeface="Meiryo UI"/>
            </a:endParaRPr>
          </a:p>
        </p:txBody>
      </p:sp>
      <p:pic>
        <p:nvPicPr>
          <p:cNvPr id="366" name="Picture 3826"/>
          <p:cNvPicPr>
            <a:picLocks noChangeAspect="1"/>
          </p:cNvPicPr>
          <p:nvPr/>
        </p:nvPicPr>
        <p:blipFill rotWithShape="1">
          <a:blip r:embed="rId14"/>
          <a:srcRect l="6821" t="2753" r="42717" b="20671"/>
          <a:stretch/>
        </p:blipFill>
        <p:spPr>
          <a:xfrm>
            <a:off x="6883102" y="2915493"/>
            <a:ext cx="768421" cy="756963"/>
          </a:xfrm>
          <a:prstGeom prst="ellipse">
            <a:avLst/>
          </a:prstGeom>
          <a:grpFill/>
          <a:ln w="38100">
            <a:solidFill>
              <a:schemeClr val="accent2"/>
            </a:solidFill>
          </a:ln>
        </p:spPr>
      </p:pic>
      <p:pic>
        <p:nvPicPr>
          <p:cNvPr id="369" name="Picture 552"/>
          <p:cNvPicPr>
            <a:picLocks noChangeAspect="1"/>
          </p:cNvPicPr>
          <p:nvPr/>
        </p:nvPicPr>
        <p:blipFill rotWithShape="1">
          <a:blip r:embed="rId20"/>
          <a:srcRect l="-322" t="1301" r="3089" b="2175"/>
          <a:stretch/>
        </p:blipFill>
        <p:spPr>
          <a:xfrm>
            <a:off x="8602272" y="5176464"/>
            <a:ext cx="725778" cy="714956"/>
          </a:xfrm>
          <a:prstGeom prst="ellipse">
            <a:avLst/>
          </a:prstGeom>
          <a:grpFill/>
          <a:ln w="38100" cap="flat" cmpd="sng" algn="ctr">
            <a:solidFill>
              <a:schemeClr val="accent4"/>
            </a:solidFill>
            <a:prstDash val="solid"/>
            <a:round/>
            <a:headEnd type="none" w="med" len="med"/>
            <a:tailEnd type="none" w="med" len="med"/>
          </a:ln>
        </p:spPr>
      </p:pic>
      <p:pic>
        <p:nvPicPr>
          <p:cNvPr id="398" name="Picture 592"/>
          <p:cNvPicPr>
            <a:picLocks noChangeAspect="1"/>
          </p:cNvPicPr>
          <p:nvPr/>
        </p:nvPicPr>
        <p:blipFill>
          <a:blip r:embed="rId10"/>
          <a:stretch>
            <a:fillRect/>
          </a:stretch>
        </p:blipFill>
        <p:spPr>
          <a:xfrm>
            <a:off x="7649726" y="3504310"/>
            <a:ext cx="422758" cy="343454"/>
          </a:xfrm>
          <a:prstGeom prst="rect">
            <a:avLst/>
          </a:prstGeom>
        </p:spPr>
      </p:pic>
      <p:sp>
        <p:nvSpPr>
          <p:cNvPr id="149" name="二等辺三角形 148"/>
          <p:cNvSpPr/>
          <p:nvPr/>
        </p:nvSpPr>
        <p:spPr>
          <a:xfrm rot="21054780">
            <a:off x="8781495" y="4069591"/>
            <a:ext cx="67195" cy="1090660"/>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7" name="二等辺三角形 316"/>
          <p:cNvSpPr/>
          <p:nvPr/>
        </p:nvSpPr>
        <p:spPr>
          <a:xfrm rot="3736705">
            <a:off x="7984653" y="4292530"/>
            <a:ext cx="67195" cy="65367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50" name="図 149"/>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10253624" y="2255561"/>
            <a:ext cx="1033779" cy="1360235"/>
          </a:xfrm>
          <a:prstGeom prst="rect">
            <a:avLst/>
          </a:prstGeom>
        </p:spPr>
      </p:pic>
      <p:pic>
        <p:nvPicPr>
          <p:cNvPr id="152" name="図 151"/>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4633297" y="2282288"/>
            <a:ext cx="1248848" cy="1509529"/>
          </a:xfrm>
          <a:prstGeom prst="rect">
            <a:avLst/>
          </a:prstGeom>
        </p:spPr>
      </p:pic>
    </p:spTree>
    <p:extLst>
      <p:ext uri="{BB962C8B-B14F-4D97-AF65-F5344CB8AC3E}">
        <p14:creationId xmlns:p14="http://schemas.microsoft.com/office/powerpoint/2010/main" val="395793095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1f_n4HkTeaclxxPV5WOgg"/>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spPr>
      <a:bodyPr rtlCol="0" anchor="ctr"/>
      <a:lstStyle>
        <a:defPPr algn="ctr">
          <a:defRPr kumimoji="1"/>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904</Words>
  <Application>Microsoft Office PowerPoint</Application>
  <PresentationFormat>ワイド画面</PresentationFormat>
  <Paragraphs>284</Paragraphs>
  <Slides>14</Slides>
  <Notes>14</Notes>
  <HiddenSlides>0</HiddenSlides>
  <MMClips>0</MMClips>
  <ScaleCrop>false</ScaleCrop>
  <HeadingPairs>
    <vt:vector size="8" baseType="variant">
      <vt:variant>
        <vt:lpstr>使用されているフォント</vt:lpstr>
      </vt:variant>
      <vt:variant>
        <vt:i4>10</vt:i4>
      </vt:variant>
      <vt:variant>
        <vt:lpstr>テーマ</vt:lpstr>
      </vt:variant>
      <vt:variant>
        <vt:i4>1</vt:i4>
      </vt:variant>
      <vt:variant>
        <vt:lpstr>埋め込まれた OLE サーバー</vt:lpstr>
      </vt:variant>
      <vt:variant>
        <vt:i4>1</vt:i4>
      </vt:variant>
      <vt:variant>
        <vt:lpstr>スライド タイトル</vt:lpstr>
      </vt:variant>
      <vt:variant>
        <vt:i4>14</vt:i4>
      </vt:variant>
    </vt:vector>
  </HeadingPairs>
  <TitlesOfParts>
    <vt:vector size="26" baseType="lpstr">
      <vt:lpstr>HGPｺﾞｼｯｸE</vt:lpstr>
      <vt:lpstr>Meiryo UI</vt:lpstr>
      <vt:lpstr>ＭＳ Ｐゴシック</vt:lpstr>
      <vt:lpstr>メイリオ</vt:lpstr>
      <vt:lpstr>游ゴシック</vt:lpstr>
      <vt:lpstr>游ゴシック Light</vt:lpstr>
      <vt:lpstr>Arial</vt:lpstr>
      <vt:lpstr>Calibri</vt:lpstr>
      <vt:lpstr>Microsoft Himalaya</vt:lpstr>
      <vt:lpstr>Trebuchet MS</vt:lpstr>
      <vt:lpstr>Office テーマ</vt:lpstr>
      <vt:lpstr>think-cell Slide</vt:lpstr>
      <vt:lpstr>Osaka Metroが目指す 新しい交通のかたち</vt:lpstr>
      <vt:lpstr>目次</vt:lpstr>
      <vt:lpstr>1-1　Osaka Metro中期経営計画　基本方針</vt:lpstr>
      <vt:lpstr>1-2　Osaka　Metro中期経営計画　戦略骨子（重点テーマ）</vt:lpstr>
      <vt:lpstr>1-3　現状と目指す姿　　～企業環境の変化</vt:lpstr>
      <vt:lpstr>1-3　現状と目指す姿　　～目指す姿</vt:lpstr>
      <vt:lpstr>2-1　MaaSとは・・・Mobility as a Service</vt:lpstr>
      <vt:lpstr>2-1　MaaSとは・・・Mobility as a Service</vt:lpstr>
      <vt:lpstr>2-2. Osaka Metroが目指す都市型MaaS</vt:lpstr>
      <vt:lpstr>2-2. Osaka Metroが目指す大阪都市型MaaS(観光・郊外型MaaS含む)</vt:lpstr>
      <vt:lpstr>3-1.　Osaka Metro　Groupが考えるスマートシティモデル</vt:lpstr>
      <vt:lpstr>顔認証システム</vt:lpstr>
      <vt:lpstr>地下空間のリニューアル</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10-05T10:29:32Z</dcterms:created>
  <dcterms:modified xsi:type="dcterms:W3CDTF">2020-10-05T10:30:27Z</dcterms:modified>
</cp:coreProperties>
</file>